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4.xml" ContentType="application/vnd.openxmlformats-officedocument.themeOverrid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5.xml" ContentType="application/vnd.openxmlformats-officedocument.themeOverride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7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8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9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0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1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2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8" r:id="rId4"/>
    <p:sldId id="4566" r:id="rId5"/>
    <p:sldId id="4579" r:id="rId6"/>
    <p:sldId id="266" r:id="rId7"/>
    <p:sldId id="276" r:id="rId8"/>
    <p:sldId id="275" r:id="rId9"/>
    <p:sldId id="4577" r:id="rId10"/>
    <p:sldId id="259" r:id="rId11"/>
    <p:sldId id="257" r:id="rId12"/>
    <p:sldId id="260" r:id="rId13"/>
    <p:sldId id="4571" r:id="rId14"/>
    <p:sldId id="4567" r:id="rId15"/>
    <p:sldId id="4564" r:id="rId16"/>
    <p:sldId id="4569" r:id="rId17"/>
    <p:sldId id="4570" r:id="rId18"/>
    <p:sldId id="4578" r:id="rId19"/>
    <p:sldId id="4563" r:id="rId20"/>
    <p:sldId id="4576" r:id="rId21"/>
    <p:sldId id="4568" r:id="rId22"/>
    <p:sldId id="4574" r:id="rId23"/>
    <p:sldId id="4565" r:id="rId24"/>
    <p:sldId id="4573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3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Worksheet11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avyahbhat\Downloads\Bolt%20Activations%202021%20V2-Base%2021st-Model%20Export-17_08_2021_07.21.1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avyahbhat\Downloads\Bolt%20Activations%202021%20V2-System%20Model_6_2_15-Model%20Export-16_08_2021_11.13.4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9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ook9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SynologyDrive\Bolt%20MMM\Bolt-New%20Data\DataCube\activation%20tabwise%20sorted%20da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D:\Kavya%20Bhat-8.13.2021\SynologyDrive\Bolt%20MMM\Bolt-New%20Data\Summary%20to%20be%20shared\Bolt-Summary%20Sheet%2008.12.21%20V2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10459942507186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2F8-4726-AC69-952CF1B6BE4B}"/>
              </c:ext>
            </c:extLst>
          </c:dPt>
          <c:dPt>
            <c:idx val="1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2F8-4726-AC69-952CF1B6BE4B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2F8-4726-AC69-952CF1B6BE4B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2F8-4726-AC69-952CF1B6BE4B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2F8-4726-AC69-952CF1B6BE4B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2F8-4726-AC69-952CF1B6BE4B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2F8-4726-AC69-952CF1B6BE4B}"/>
              </c:ext>
            </c:extLst>
          </c:dPt>
          <c:dPt>
            <c:idx val="7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62F8-4726-AC69-952CF1B6BE4B}"/>
              </c:ext>
            </c:extLst>
          </c:dPt>
          <c:dPt>
            <c:idx val="8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62F8-4726-AC69-952CF1B6BE4B}"/>
              </c:ext>
            </c:extLst>
          </c:dPt>
          <c:dPt>
            <c:idx val="9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62F8-4726-AC69-952CF1B6BE4B}"/>
              </c:ext>
            </c:extLst>
          </c:dPt>
          <c:dPt>
            <c:idx val="1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62F8-4726-AC69-952CF1B6BE4B}"/>
              </c:ext>
            </c:extLst>
          </c:dPt>
          <c:dPt>
            <c:idx val="1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62F8-4726-AC69-952CF1B6BE4B}"/>
              </c:ext>
            </c:extLst>
          </c:dPt>
          <c:dLbls>
            <c:dLbl>
              <c:idx val="0"/>
              <c:layout>
                <c:manualLayout>
                  <c:x val="9.9426673228346432E-2"/>
                  <c:y val="-7.713040649047904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F8-4726-AC69-952CF1B6BE4B}"/>
                </c:ext>
              </c:extLst>
            </c:dLbl>
            <c:dLbl>
              <c:idx val="1"/>
              <c:layout>
                <c:manualLayout>
                  <c:x val="-0.14589383588080901"/>
                  <c:y val="9.010959370024106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2F8-4726-AC69-952CF1B6BE4B}"/>
                </c:ext>
              </c:extLst>
            </c:dLbl>
            <c:dLbl>
              <c:idx val="2"/>
              <c:layout>
                <c:manualLayout>
                  <c:x val="8.918635170603674E-2"/>
                  <c:y val="-0.139379646391222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2F8-4726-AC69-952CF1B6BE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2F8-4726-AC69-952CF1B6BE4B}"/>
                </c:ext>
              </c:extLst>
            </c:dLbl>
            <c:dLbl>
              <c:idx val="4"/>
              <c:layout>
                <c:manualLayout>
                  <c:x val="-1.5814613246873553E-3"/>
                  <c:y val="1.2367293401832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2F8-4726-AC69-952CF1B6BE4B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2F8-4726-AC69-952CF1B6BE4B}"/>
                </c:ext>
              </c:extLst>
            </c:dLbl>
            <c:dLbl>
              <c:idx val="6"/>
              <c:layout>
                <c:manualLayout>
                  <c:x val="-6.3942025629149302E-2"/>
                  <c:y val="-4.54990158613319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2F8-4726-AC69-952CF1B6BE4B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2F8-4726-AC69-952CF1B6BE4B}"/>
                </c:ext>
              </c:extLst>
            </c:dLbl>
            <c:dLbl>
              <c:idx val="8"/>
              <c:layout>
                <c:manualLayout>
                  <c:x val="6.1024394009572332E-2"/>
                  <c:y val="3.15650926729633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2F8-4726-AC69-952CF1B6BE4B}"/>
                </c:ext>
              </c:extLst>
            </c:dLbl>
            <c:dLbl>
              <c:idx val="9"/>
              <c:layout>
                <c:manualLayout>
                  <c:x val="-4.035230430754988E-2"/>
                  <c:y val="5.15639165653844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2F8-4726-AC69-952CF1B6BE4B}"/>
                </c:ext>
              </c:extLst>
            </c:dLbl>
            <c:dLbl>
              <c:idx val="10"/>
              <c:layout>
                <c:manualLayout>
                  <c:x val="-0.16916536398023777"/>
                  <c:y val="4.65497930572871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2F8-4726-AC69-952CF1B6BE4B}"/>
                </c:ext>
              </c:extLst>
            </c:dLbl>
            <c:dLbl>
              <c:idx val="11"/>
              <c:layout>
                <c:manualLayout>
                  <c:x val="-0.12370652887139108"/>
                  <c:y val="1.12840483711704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7100DE-41CF-49E5-B6BA-6B703A2B1155}" type="CELLREF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CELLREF]</a:t>
                    </a:fld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, </a:t>
                    </a:r>
                    <a:fld id="{0F72F88F-D1EB-4AFF-BD0D-DD2C5B99FAD6}" type="VALUE">
                      <a:rPr lang="en-US" baseline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>
                    <c15:dlblFTEntry>
                      <c15:txfldGUID>{A07100DE-41CF-49E5-B6BA-6B703A2B1155}</c15:txfldGUID>
                      <c15:f>Sheet1!$F$1</c15:f>
                      <c15:dlblFieldTableCache>
                        <c:ptCount val="1"/>
                        <c:pt idx="0">
                          <c:v>Media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7-62F8-4726-AC69-952CF1B6BE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2</c:f>
              <c:strCache>
                <c:ptCount val="11"/>
                <c:pt idx="0">
                  <c:v>Organic</c:v>
                </c:pt>
                <c:pt idx="1">
                  <c:v>Game Updates
 &amp; Events</c:v>
                </c:pt>
                <c:pt idx="2">
                  <c:v>Display Network</c:v>
                </c:pt>
                <c:pt idx="3">
                  <c:v>Facebook ROAS</c:v>
                </c:pt>
                <c:pt idx="4">
                  <c:v>Facebook AEO</c:v>
                </c:pt>
                <c:pt idx="5">
                  <c:v>Facebook MAI</c:v>
                </c:pt>
                <c:pt idx="6">
                  <c:v>YouTube</c:v>
                </c:pt>
                <c:pt idx="7">
                  <c:v>Non Social Display</c:v>
                </c:pt>
                <c:pt idx="8">
                  <c:v>Google Search</c:v>
                </c:pt>
                <c:pt idx="9">
                  <c:v>Apple Search</c:v>
                </c:pt>
                <c:pt idx="10">
                  <c:v>Non Social Video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50118102470534109</c:v>
                </c:pt>
                <c:pt idx="1">
                  <c:v>9.094968096515961E-2</c:v>
                </c:pt>
                <c:pt idx="2">
                  <c:v>0.13861328994548608</c:v>
                </c:pt>
                <c:pt idx="3">
                  <c:v>0.12624690216903406</c:v>
                </c:pt>
                <c:pt idx="4">
                  <c:v>5.0687131085338052E-2</c:v>
                </c:pt>
                <c:pt idx="5">
                  <c:v>1.4570250742393301E-2</c:v>
                </c:pt>
                <c:pt idx="6">
                  <c:v>4.3268344237750056E-2</c:v>
                </c:pt>
                <c:pt idx="7">
                  <c:v>2.5478945155900483E-2</c:v>
                </c:pt>
                <c:pt idx="8">
                  <c:v>3.7559384167955901E-3</c:v>
                </c:pt>
                <c:pt idx="9">
                  <c:v>2.9976894025889977E-3</c:v>
                </c:pt>
                <c:pt idx="10">
                  <c:v>2.25080317421306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2F8-4726-AC69-952CF1B6BE4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9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on-Media</a:t>
            </a:r>
            <a:r>
              <a:rPr lang="en-US" baseline="0" dirty="0"/>
              <a:t> </a:t>
            </a:r>
            <a:r>
              <a:rPr lang="en-US" dirty="0"/>
              <a:t>Contrib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205282266386449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ntribution</c:v>
                </c:pt>
              </c:strCache>
            </c:strRef>
          </c:tx>
          <c:dPt>
            <c:idx val="0"/>
            <c:bubble3D val="0"/>
            <c:spPr>
              <a:solidFill>
                <a:srgbClr val="70AD47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D3-48FE-92D6-3B505ABE5710}"/>
              </c:ext>
            </c:extLst>
          </c:dPt>
          <c:dPt>
            <c:idx val="1"/>
            <c:bubble3D val="0"/>
            <c:spPr>
              <a:solidFill>
                <a:srgbClr val="ED7D31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D3-48FE-92D6-3B505ABE571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D3-48FE-92D6-3B505ABE5710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D3-48FE-92D6-3B505ABE5710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D3-48FE-92D6-3B505ABE5710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2D3-48FE-92D6-3B505ABE571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2D3-48FE-92D6-3B505ABE571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2D3-48FE-92D6-3B505ABE571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2D3-48FE-92D6-3B505ABE571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D3-48FE-92D6-3B505ABE571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2D3-48FE-92D6-3B505ABE5710}"/>
              </c:ext>
            </c:extLst>
          </c:dPt>
          <c:dLbls>
            <c:dLbl>
              <c:idx val="0"/>
              <c:layout>
                <c:manualLayout>
                  <c:x val="8.1021202311995763E-2"/>
                  <c:y val="-0.1681270011867177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D3-48FE-92D6-3B505ABE5710}"/>
                </c:ext>
              </c:extLst>
            </c:dLbl>
            <c:dLbl>
              <c:idx val="1"/>
              <c:layout>
                <c:manualLayout>
                  <c:x val="5.2375501826439547E-2"/>
                  <c:y val="0.1565289626295873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D3-48FE-92D6-3B505ABE5710}"/>
                </c:ext>
              </c:extLst>
            </c:dLbl>
            <c:dLbl>
              <c:idx val="2"/>
              <c:layout>
                <c:manualLayout>
                  <c:x val="-8.8164984731271892E-3"/>
                  <c:y val="3.116265512819191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92D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D3-48FE-92D6-3B505ABE5710}"/>
                </c:ext>
              </c:extLst>
            </c:dLbl>
            <c:dLbl>
              <c:idx val="3"/>
              <c:layout>
                <c:manualLayout>
                  <c:x val="0.12061987400555228"/>
                  <c:y val="3.948830521781434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D3-48FE-92D6-3B505ABE5710}"/>
                </c:ext>
              </c:extLst>
            </c:dLbl>
            <c:dLbl>
              <c:idx val="4"/>
              <c:layout>
                <c:manualLayout>
                  <c:x val="-0.13500735879402892"/>
                  <c:y val="4.045944608239132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D3-48FE-92D6-3B505ABE5710}"/>
                </c:ext>
              </c:extLst>
            </c:dLbl>
            <c:dLbl>
              <c:idx val="5"/>
              <c:layout>
                <c:manualLayout>
                  <c:x val="-1.5814613246873553E-3"/>
                  <c:y val="1.2367293401832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2D3-48FE-92D6-3B505ABE5710}"/>
                </c:ext>
              </c:extLst>
            </c:dLbl>
            <c:dLbl>
              <c:idx val="6"/>
              <c:layout>
                <c:manualLayout>
                  <c:x val="-0.12998751252551419"/>
                  <c:y val="-9.9336479565478551E-3"/>
                </c:manualLayout>
              </c:layout>
              <c:tx>
                <c:rich>
                  <a:bodyPr/>
                  <a:lstStyle/>
                  <a:p>
                    <a:r>
                      <a:rPr lang="en-US" sz="1200" baseline="0" dirty="0">
                        <a:solidFill>
                          <a:schemeClr val="bg1"/>
                        </a:solidFill>
                      </a:rPr>
                      <a:t>Non-Media
</a:t>
                    </a:r>
                    <a:fld id="{2271B0BC-5E88-4652-8F2F-0ED7AA078018}" type="VALUE">
                      <a:rPr lang="en-US" sz="120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sz="1200" baseline="0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B2D3-48FE-92D6-3B505ABE57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Organic</c:v>
                </c:pt>
                <c:pt idx="1">
                  <c:v>Media</c:v>
                </c:pt>
                <c:pt idx="2">
                  <c:v>Promo Event </c:v>
                </c:pt>
                <c:pt idx="3">
                  <c:v>Promo Sign up</c:v>
                </c:pt>
                <c:pt idx="4">
                  <c:v>Promo Referrals</c:v>
                </c:pt>
                <c:pt idx="5">
                  <c:v>Lifecycle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30989552189621961</c:v>
                </c:pt>
                <c:pt idx="1">
                  <c:v>0.18061634014606551</c:v>
                </c:pt>
                <c:pt idx="2">
                  <c:v>5.3386430082417752E-2</c:v>
                </c:pt>
                <c:pt idx="3">
                  <c:v>0.16830278258490344</c:v>
                </c:pt>
                <c:pt idx="4">
                  <c:v>0.27719780650983045</c:v>
                </c:pt>
                <c:pt idx="5">
                  <c:v>1.06011187805632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2D3-48FE-92D6-3B505ABE57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4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853548288301136E-2"/>
          <c:y val="0.11956521739130435"/>
          <c:w val="0.97643343395301974"/>
          <c:h val="0.540880976834417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 Volum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B4-4CE9-B6F9-40EE9B48DDD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F7B4-4CE9-B6F9-40EE9B48DD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B$4:$B$18</c:f>
              <c:numCache>
                <c:formatCode>#,##0.00</c:formatCode>
                <c:ptCount val="15"/>
                <c:pt idx="0" formatCode="#,##0">
                  <c:v>351727</c:v>
                </c:pt>
                <c:pt idx="14" formatCode="#,##0">
                  <c:v>102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B4-4CE9-B6F9-40EE9B48DDD9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White Space</c:v>
                </c:pt>
              </c:strCache>
            </c:strRef>
          </c:tx>
          <c:spPr>
            <a:noFill/>
          </c:spPr>
          <c:invertIfNegative val="0"/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C$4:$C$18</c:f>
              <c:numCache>
                <c:formatCode>#,##0</c:formatCode>
                <c:ptCount val="15"/>
                <c:pt idx="1">
                  <c:v>351727</c:v>
                </c:pt>
                <c:pt idx="2">
                  <c:v>354540.81599999999</c:v>
                </c:pt>
                <c:pt idx="3">
                  <c:v>356651.17800000001</c:v>
                </c:pt>
                <c:pt idx="4">
                  <c:v>357706.359</c:v>
                </c:pt>
                <c:pt idx="5">
                  <c:v>357002.90499999997</c:v>
                </c:pt>
                <c:pt idx="6">
                  <c:v>356299.45099999994</c:v>
                </c:pt>
                <c:pt idx="7">
                  <c:v>335195.83099999995</c:v>
                </c:pt>
                <c:pt idx="8">
                  <c:v>312685.30299999996</c:v>
                </c:pt>
                <c:pt idx="9">
                  <c:v>287360.95899999997</c:v>
                </c:pt>
                <c:pt idx="10">
                  <c:v>259222.79899999997</c:v>
                </c:pt>
                <c:pt idx="11">
                  <c:v>219477.64799999999</c:v>
                </c:pt>
                <c:pt idx="12">
                  <c:v>77379.939999999973</c:v>
                </c:pt>
                <c:pt idx="13">
                  <c:v>77379.939999999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B4-4CE9-B6F9-40EE9B48DDD9}"/>
            </c:ext>
          </c:extLst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Positive Driver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3BF-4422-A598-9E0F05F29A85}"/>
                </c:ext>
              </c:extLst>
            </c:dLbl>
            <c:dLbl>
              <c:idx val="1"/>
              <c:layout>
                <c:manualLayout>
                  <c:x val="0"/>
                  <c:y val="-4.7539940659591468E-2"/>
                </c:manualLayout>
              </c:layout>
              <c:tx>
                <c:rich>
                  <a:bodyPr/>
                  <a:lstStyle/>
                  <a:p>
                    <a:fld id="{38F9BEFD-C1B3-4118-8B08-0C4F3D79DED8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3BF-4422-A598-9E0F05F29A8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8F44512-BFA4-4259-ADE9-F2A4B86D539B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3BF-4422-A598-9E0F05F29A8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4437118-C8F7-4D91-A6CC-147E839C02CC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3BF-4422-A598-9E0F05F29A85}"/>
                </c:ext>
              </c:extLst>
            </c:dLbl>
            <c:dLbl>
              <c:idx val="4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E6E3BEBE-30D5-48E5-97FD-3A946B9071A9}" type="CELLRANGE">
                      <a:rPr lang="en-IN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3BF-4422-A598-9E0F05F29A85}"/>
                </c:ext>
              </c:extLst>
            </c:dLbl>
            <c:dLbl>
              <c:idx val="5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20685566-EB98-40F1-9AAE-11D3D3343EAE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33BF-4422-A598-9E0F05F29A85}"/>
                </c:ext>
              </c:extLst>
            </c:dLbl>
            <c:dLbl>
              <c:idx val="6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4092061D-E4F7-45DE-B458-9CFBAB2D7832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33BF-4422-A598-9E0F05F29A85}"/>
                </c:ext>
              </c:extLst>
            </c:dLbl>
            <c:dLbl>
              <c:idx val="7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CCF45886-505E-4C2A-89B1-286D92D084EB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33BF-4422-A598-9E0F05F29A85}"/>
                </c:ext>
              </c:extLst>
            </c:dLbl>
            <c:dLbl>
              <c:idx val="8"/>
              <c:layout>
                <c:manualLayout>
                  <c:x val="-8.3941411578161102E-17"/>
                  <c:y val="3.6866084674198336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A31B898D-6F9C-47AD-81FF-267064099989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33BF-4422-A598-9E0F05F29A85}"/>
                </c:ext>
              </c:extLst>
            </c:dLbl>
            <c:dLbl>
              <c:idx val="9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B8D53F50-4193-4C90-9AC7-6EABD74C42F6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3BF-4422-A598-9E0F05F29A85}"/>
                </c:ext>
              </c:extLst>
            </c:dLbl>
            <c:dLbl>
              <c:idx val="10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D359358C-1CC9-491D-B642-A12799E629FC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33BF-4422-A598-9E0F05F29A85}"/>
                </c:ext>
              </c:extLst>
            </c:dLbl>
            <c:dLbl>
              <c:idx val="1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E29DC0E3-C31B-466B-811A-0CF12DC82F66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33BF-4422-A598-9E0F05F29A85}"/>
                </c:ext>
              </c:extLst>
            </c:dLbl>
            <c:dLbl>
              <c:idx val="12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DB181750-3129-40E6-9C7F-0B248BEADD48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33BF-4422-A598-9E0F05F29A85}"/>
                </c:ext>
              </c:extLst>
            </c:dLbl>
            <c:dLbl>
              <c:idx val="13"/>
              <c:layout>
                <c:manualLayout>
                  <c:x val="-2.2893376711775634E-3"/>
                  <c:y val="-5.9971470957434665E-2"/>
                </c:manualLayout>
              </c:layout>
              <c:tx>
                <c:rich>
                  <a:bodyPr/>
                  <a:lstStyle/>
                  <a:p>
                    <a:fld id="{F2DCA63C-6206-49B3-9441-E52EDC4CDA1B}" type="CELLRANGE">
                      <a:rPr lang="en-US" dirty="0">
                        <a:solidFill>
                          <a:srgbClr val="00B050"/>
                        </a:solidFill>
                      </a:rPr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33BF-4422-A598-9E0F05F29A85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3BF-4422-A598-9E0F05F29A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aseline="0"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D$4:$D$18</c:f>
              <c:numCache>
                <c:formatCode>#,##0</c:formatCode>
                <c:ptCount val="15"/>
                <c:pt idx="1">
                  <c:v>2813.8160000000003</c:v>
                </c:pt>
                <c:pt idx="2">
                  <c:v>2110.3620000000001</c:v>
                </c:pt>
                <c:pt idx="3">
                  <c:v>1055.18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4832.19649999998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4:$H$18</c15:f>
                <c15:dlblRangeCache>
                  <c:ptCount val="15"/>
                  <c:pt idx="1">
                    <c:v>0.8%</c:v>
                  </c:pt>
                  <c:pt idx="2">
                    <c:v>0.6%</c:v>
                  </c:pt>
                  <c:pt idx="3">
                    <c:v>0.3%</c:v>
                  </c:pt>
                  <c:pt idx="4">
                    <c:v>0.0%</c:v>
                  </c:pt>
                  <c:pt idx="5">
                    <c:v>-0.2%</c:v>
                  </c:pt>
                  <c:pt idx="6">
                    <c:v>-0.2%</c:v>
                  </c:pt>
                  <c:pt idx="7">
                    <c:v>-6.0%</c:v>
                  </c:pt>
                  <c:pt idx="8">
                    <c:v>-6.4%</c:v>
                  </c:pt>
                  <c:pt idx="9">
                    <c:v>-7.2%</c:v>
                  </c:pt>
                  <c:pt idx="10">
                    <c:v>-8.0%</c:v>
                  </c:pt>
                  <c:pt idx="11">
                    <c:v>-11.3%</c:v>
                  </c:pt>
                  <c:pt idx="12">
                    <c:v>-40.4%</c:v>
                  </c:pt>
                  <c:pt idx="13">
                    <c:v>7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F7B4-4CE9-B6F9-40EE9B48DDD9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Negative Driver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E62-4E7C-8FFD-25024750A074}"/>
              </c:ext>
            </c:extLst>
          </c:dPt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E$4:$E$18</c:f>
              <c:numCache>
                <c:formatCode>General</c:formatCode>
                <c:ptCount val="15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703.45400000000006</c:v>
                </c:pt>
                <c:pt idx="6">
                  <c:v>703.45400000000006</c:v>
                </c:pt>
                <c:pt idx="7">
                  <c:v>21103.62</c:v>
                </c:pt>
                <c:pt idx="8">
                  <c:v>22510.528000000002</c:v>
                </c:pt>
                <c:pt idx="9">
                  <c:v>25324.343999999997</c:v>
                </c:pt>
                <c:pt idx="10">
                  <c:v>28138.16</c:v>
                </c:pt>
                <c:pt idx="11">
                  <c:v>39745.150999999998</c:v>
                </c:pt>
                <c:pt idx="12">
                  <c:v>142097.70800000001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7B4-4CE9-B6F9-40EE9B48DD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1"/>
        <c:overlap val="100"/>
        <c:axId val="762993392"/>
        <c:axId val="762991760"/>
      </c:barChart>
      <c:catAx>
        <c:axId val="762993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5400000" vert="horz"/>
          <a:lstStyle/>
          <a:p>
            <a:pPr>
              <a:defRPr sz="1400"/>
            </a:pPr>
            <a:endParaRPr lang="en-US"/>
          </a:p>
        </c:txPr>
        <c:crossAx val="762991760"/>
        <c:crosses val="autoZero"/>
        <c:auto val="1"/>
        <c:lblAlgn val="ctr"/>
        <c:lblOffset val="100"/>
        <c:noMultiLvlLbl val="0"/>
      </c:catAx>
      <c:valAx>
        <c:axId val="76299176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762993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3C-45D8-A2A6-C1BA08C0DA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</c:strCache>
            </c:strRef>
          </c:cat>
          <c:val>
            <c:numRef>
              <c:f>Sheet1!$B$2:$B$11</c:f>
              <c:numCache>
                <c:formatCode>#,##0.0</c:formatCode>
                <c:ptCount val="10"/>
                <c:pt idx="0">
                  <c:v>17.829895992912189</c:v>
                </c:pt>
                <c:pt idx="1">
                  <c:v>15.203389915237286</c:v>
                </c:pt>
                <c:pt idx="2">
                  <c:v>14.17180970787779</c:v>
                </c:pt>
                <c:pt idx="3">
                  <c:v>11.278962226374947</c:v>
                </c:pt>
                <c:pt idx="4">
                  <c:v>16.585922475934286</c:v>
                </c:pt>
                <c:pt idx="5">
                  <c:v>12.803952690106367</c:v>
                </c:pt>
                <c:pt idx="6">
                  <c:v>21.425349464188908</c:v>
                </c:pt>
                <c:pt idx="7">
                  <c:v>9.9891251395460685</c:v>
                </c:pt>
                <c:pt idx="8">
                  <c:v>4.992488153827817</c:v>
                </c:pt>
                <c:pt idx="9">
                  <c:v>78.947425309613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BC5-4055-B42E-6EE3DAF1846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5.6704781348882273E-2</c:v>
                </c:pt>
                <c:pt idx="1">
                  <c:v>6.301434008847967E-2</c:v>
                </c:pt>
                <c:pt idx="2">
                  <c:v>3.6113353274742382E-2</c:v>
                </c:pt>
                <c:pt idx="3">
                  <c:v>9.4655257914036967E-3</c:v>
                </c:pt>
                <c:pt idx="4">
                  <c:v>5.1244551249380547E-3</c:v>
                </c:pt>
                <c:pt idx="5">
                  <c:v>6.0071761029069021E-3</c:v>
                </c:pt>
                <c:pt idx="6">
                  <c:v>1.184078953427739E-3</c:v>
                </c:pt>
                <c:pt idx="7">
                  <c:v>1.6409693907454973E-3</c:v>
                </c:pt>
                <c:pt idx="8">
                  <c:v>1.332401232987982E-3</c:v>
                </c:pt>
                <c:pt idx="9">
                  <c:v>2.9258837551313169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AE7-421A-8A48-C5637644CFD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2266.6220489050002</c:v>
                </c:pt>
                <c:pt idx="1">
                  <c:v>2147.7832221520903</c:v>
                </c:pt>
                <c:pt idx="2">
                  <c:v>1147.3706800000007</c:v>
                </c:pt>
                <c:pt idx="3">
                  <c:v>239.34507999999994</c:v>
                </c:pt>
                <c:pt idx="4">
                  <c:v>190.54517000000016</c:v>
                </c:pt>
                <c:pt idx="5">
                  <c:v>172.43485000000001</c:v>
                </c:pt>
                <c:pt idx="6">
                  <c:v>56.874710000000007</c:v>
                </c:pt>
                <c:pt idx="7">
                  <c:v>36.748410000000014</c:v>
                </c:pt>
                <c:pt idx="8">
                  <c:v>14.912920000000002</c:v>
                </c:pt>
                <c:pt idx="9">
                  <c:v>5.17851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27719780650983045</c:v>
                </c:pt>
                <c:pt idx="1">
                  <c:v>5.3386430082417752E-2</c:v>
                </c:pt>
                <c:pt idx="2">
                  <c:v>0.16830278258490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</c:strCache>
            </c:strRef>
          </c:cat>
          <c:val>
            <c:numRef>
              <c:f>Sheet1!$B$2:$B$4</c:f>
              <c:numCache>
                <c:formatCode>#,##0.0</c:formatCode>
                <c:ptCount val="3"/>
                <c:pt idx="0">
                  <c:v>18.351266523438493</c:v>
                </c:pt>
                <c:pt idx="1">
                  <c:v>8.1654844287111903</c:v>
                </c:pt>
                <c:pt idx="2">
                  <c:v>39.067686559992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eferrals</c:v>
                </c:pt>
                <c:pt idx="1">
                  <c:v>Event </c:v>
                </c:pt>
                <c:pt idx="2">
                  <c:v>Sign up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1404.242699999997</c:v>
                </c:pt>
                <c:pt idx="1">
                  <c:v>977.29</c:v>
                </c:pt>
                <c:pt idx="2">
                  <c:v>14740.7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odel</a:t>
            </a:r>
            <a:r>
              <a:rPr lang="en-US" baseline="0"/>
              <a:t> F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5385862603352055E-2"/>
          <c:y val="0.21800925925925929"/>
          <c:w val="0.93394023272688187"/>
          <c:h val="0.44140930300379122"/>
        </c:manualLayout>
      </c:layout>
      <c:lineChart>
        <c:grouping val="standard"/>
        <c:varyColors val="0"/>
        <c:ser>
          <c:idx val="0"/>
          <c:order val="0"/>
          <c:tx>
            <c:strRef>
              <c:f>'Six months of HoldOut period'!$B$2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Six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ix months of HoldOut period'!$B$3:$B$732</c:f>
              <c:numCache>
                <c:formatCode>#,##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1F8-4EA8-A306-C53798E98FB9}"/>
            </c:ext>
          </c:extLst>
        </c:ser>
        <c:ser>
          <c:idx val="1"/>
          <c:order val="1"/>
          <c:tx>
            <c:strRef>
              <c:f>'Six months of HoldOut period'!$C$2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Six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ix months of HoldOut period'!$C$3:$C$732</c:f>
              <c:numCache>
                <c:formatCode>#,##0</c:formatCode>
                <c:ptCount val="730"/>
                <c:pt idx="0">
                  <c:v>1517.3432624058664</c:v>
                </c:pt>
                <c:pt idx="1">
                  <c:v>1595.8201684297055</c:v>
                </c:pt>
                <c:pt idx="2">
                  <c:v>1868.5832152289922</c:v>
                </c:pt>
                <c:pt idx="3">
                  <c:v>3195.2476096681185</c:v>
                </c:pt>
                <c:pt idx="4">
                  <c:v>3917.5094255434101</c:v>
                </c:pt>
                <c:pt idx="5">
                  <c:v>3743.3503106219528</c:v>
                </c:pt>
                <c:pt idx="6">
                  <c:v>2758.2436515386548</c:v>
                </c:pt>
                <c:pt idx="7">
                  <c:v>2950.5650896098632</c:v>
                </c:pt>
                <c:pt idx="8">
                  <c:v>3038.5557128314026</c:v>
                </c:pt>
                <c:pt idx="9">
                  <c:v>3035.4750185694938</c:v>
                </c:pt>
                <c:pt idx="10">
                  <c:v>3782.5090243848358</c:v>
                </c:pt>
                <c:pt idx="11">
                  <c:v>4154.7033605704119</c:v>
                </c:pt>
                <c:pt idx="12">
                  <c:v>3572.5717970930059</c:v>
                </c:pt>
                <c:pt idx="13">
                  <c:v>2199.1738693675688</c:v>
                </c:pt>
                <c:pt idx="14">
                  <c:v>2084.9733434985374</c:v>
                </c:pt>
                <c:pt idx="15">
                  <c:v>1984.2222909089048</c:v>
                </c:pt>
                <c:pt idx="16">
                  <c:v>1908.6404234936692</c:v>
                </c:pt>
                <c:pt idx="17">
                  <c:v>2898.7714672861293</c:v>
                </c:pt>
                <c:pt idx="18">
                  <c:v>3396.151769307472</c:v>
                </c:pt>
                <c:pt idx="19">
                  <c:v>2829.7202245034214</c:v>
                </c:pt>
                <c:pt idx="20">
                  <c:v>1767.0632884631812</c:v>
                </c:pt>
                <c:pt idx="21">
                  <c:v>1708.3295171418501</c:v>
                </c:pt>
                <c:pt idx="22">
                  <c:v>1807.4821872430102</c:v>
                </c:pt>
                <c:pt idx="23">
                  <c:v>2063.6881902964496</c:v>
                </c:pt>
                <c:pt idx="24">
                  <c:v>3497.4099982111184</c:v>
                </c:pt>
                <c:pt idx="25">
                  <c:v>4484.3126743760076</c:v>
                </c:pt>
                <c:pt idx="26">
                  <c:v>4023.597315999416</c:v>
                </c:pt>
                <c:pt idx="27">
                  <c:v>2458.2585436318086</c:v>
                </c:pt>
                <c:pt idx="28">
                  <c:v>2456.8760502338951</c:v>
                </c:pt>
                <c:pt idx="29">
                  <c:v>2543.8840004167378</c:v>
                </c:pt>
                <c:pt idx="30">
                  <c:v>2598.6056124471825</c:v>
                </c:pt>
                <c:pt idx="31">
                  <c:v>3896.2652484112327</c:v>
                </c:pt>
                <c:pt idx="32">
                  <c:v>4870.8909726815637</c:v>
                </c:pt>
                <c:pt idx="33">
                  <c:v>4260.9712981569864</c:v>
                </c:pt>
                <c:pt idx="34">
                  <c:v>2395.8442333908633</c:v>
                </c:pt>
                <c:pt idx="35">
                  <c:v>2548.9080752230366</c:v>
                </c:pt>
                <c:pt idx="36">
                  <c:v>2596.043109705342</c:v>
                </c:pt>
                <c:pt idx="37">
                  <c:v>2626.0606912185908</c:v>
                </c:pt>
                <c:pt idx="38">
                  <c:v>4288.8716476351437</c:v>
                </c:pt>
                <c:pt idx="39">
                  <c:v>5281.2500624558033</c:v>
                </c:pt>
                <c:pt idx="40">
                  <c:v>4690.0372229191898</c:v>
                </c:pt>
                <c:pt idx="41">
                  <c:v>2612.4843496966014</c:v>
                </c:pt>
                <c:pt idx="42">
                  <c:v>2808.0054633790028</c:v>
                </c:pt>
                <c:pt idx="43">
                  <c:v>3031.6444900143988</c:v>
                </c:pt>
                <c:pt idx="44">
                  <c:v>3497.8912974190416</c:v>
                </c:pt>
                <c:pt idx="45">
                  <c:v>4600.9844162387189</c:v>
                </c:pt>
                <c:pt idx="46">
                  <c:v>5846.081248942447</c:v>
                </c:pt>
                <c:pt idx="47">
                  <c:v>5136.1344430606205</c:v>
                </c:pt>
                <c:pt idx="48">
                  <c:v>3086.7296258845331</c:v>
                </c:pt>
                <c:pt idx="49">
                  <c:v>3147.2641659635074</c:v>
                </c:pt>
                <c:pt idx="50">
                  <c:v>3305.2522291855125</c:v>
                </c:pt>
                <c:pt idx="51">
                  <c:v>3423.7982064310022</c:v>
                </c:pt>
                <c:pt idx="52">
                  <c:v>4973.3436685732604</c:v>
                </c:pt>
                <c:pt idx="53">
                  <c:v>6236.7597976407715</c:v>
                </c:pt>
                <c:pt idx="54">
                  <c:v>5471.4817817436397</c:v>
                </c:pt>
                <c:pt idx="55">
                  <c:v>3293.185598512749</c:v>
                </c:pt>
                <c:pt idx="56">
                  <c:v>3433.7273874492466</c:v>
                </c:pt>
                <c:pt idx="57">
                  <c:v>3691.6331505383632</c:v>
                </c:pt>
                <c:pt idx="58">
                  <c:v>4083.3311697690406</c:v>
                </c:pt>
                <c:pt idx="59">
                  <c:v>5982.548950678608</c:v>
                </c:pt>
                <c:pt idx="60">
                  <c:v>7588.1954573894518</c:v>
                </c:pt>
                <c:pt idx="61">
                  <c:v>7040.7148665405111</c:v>
                </c:pt>
                <c:pt idx="62">
                  <c:v>4151.9992931791476</c:v>
                </c:pt>
                <c:pt idx="63">
                  <c:v>4015.4604315927381</c:v>
                </c:pt>
                <c:pt idx="64">
                  <c:v>4383.9239906931252</c:v>
                </c:pt>
                <c:pt idx="65">
                  <c:v>4485.4437234724483</c:v>
                </c:pt>
                <c:pt idx="66">
                  <c:v>6416.523971438387</c:v>
                </c:pt>
                <c:pt idx="67">
                  <c:v>8026.3124034177663</c:v>
                </c:pt>
                <c:pt idx="68">
                  <c:v>7228.4981912052754</c:v>
                </c:pt>
                <c:pt idx="69">
                  <c:v>4030.5249434007469</c:v>
                </c:pt>
                <c:pt idx="70">
                  <c:v>4117.6207261852669</c:v>
                </c:pt>
                <c:pt idx="71">
                  <c:v>4233.9146227333667</c:v>
                </c:pt>
                <c:pt idx="72">
                  <c:v>4423.9076891557334</c:v>
                </c:pt>
                <c:pt idx="73">
                  <c:v>6268.1932216356518</c:v>
                </c:pt>
                <c:pt idx="74">
                  <c:v>8157.3063434592423</c:v>
                </c:pt>
                <c:pt idx="75">
                  <c:v>8434.7649708395438</c:v>
                </c:pt>
                <c:pt idx="76">
                  <c:v>6257.8799093677462</c:v>
                </c:pt>
                <c:pt idx="77">
                  <c:v>4296.9337285822467</c:v>
                </c:pt>
                <c:pt idx="78">
                  <c:v>4198.4331311195428</c:v>
                </c:pt>
                <c:pt idx="79">
                  <c:v>4666.6293630115661</c:v>
                </c:pt>
                <c:pt idx="80">
                  <c:v>7116.4908116408169</c:v>
                </c:pt>
                <c:pt idx="81">
                  <c:v>9889.8674106620329</c:v>
                </c:pt>
                <c:pt idx="82">
                  <c:v>8668.3999730548785</c:v>
                </c:pt>
                <c:pt idx="83">
                  <c:v>4914.4856827536505</c:v>
                </c:pt>
                <c:pt idx="84">
                  <c:v>5005.7126952331628</c:v>
                </c:pt>
                <c:pt idx="85">
                  <c:v>5107.2069628061536</c:v>
                </c:pt>
                <c:pt idx="86">
                  <c:v>5319.1644598082303</c:v>
                </c:pt>
                <c:pt idx="87">
                  <c:v>7376.6042575297852</c:v>
                </c:pt>
                <c:pt idx="88">
                  <c:v>10300.367287705154</c:v>
                </c:pt>
                <c:pt idx="89">
                  <c:v>8839.2864042797628</c:v>
                </c:pt>
                <c:pt idx="90">
                  <c:v>4656.702533468082</c:v>
                </c:pt>
                <c:pt idx="91">
                  <c:v>4704.0584864910179</c:v>
                </c:pt>
                <c:pt idx="92">
                  <c:v>5050.6535527047408</c:v>
                </c:pt>
                <c:pt idx="93">
                  <c:v>5495.4282519516582</c:v>
                </c:pt>
                <c:pt idx="94">
                  <c:v>8111.5066468850173</c:v>
                </c:pt>
                <c:pt idx="95">
                  <c:v>11227.080730218946</c:v>
                </c:pt>
                <c:pt idx="96">
                  <c:v>9332.4345715382842</c:v>
                </c:pt>
                <c:pt idx="97">
                  <c:v>4806.7289458938731</c:v>
                </c:pt>
                <c:pt idx="98">
                  <c:v>4910.5573649998669</c:v>
                </c:pt>
                <c:pt idx="99">
                  <c:v>4914.6120844664174</c:v>
                </c:pt>
                <c:pt idx="100">
                  <c:v>5517.2624926110038</c:v>
                </c:pt>
                <c:pt idx="101">
                  <c:v>7275.6236599010381</c:v>
                </c:pt>
                <c:pt idx="102">
                  <c:v>10288.499610278035</c:v>
                </c:pt>
                <c:pt idx="103">
                  <c:v>8230.1152618949909</c:v>
                </c:pt>
                <c:pt idx="104">
                  <c:v>4566.539624277345</c:v>
                </c:pt>
                <c:pt idx="105">
                  <c:v>5308.2759473685028</c:v>
                </c:pt>
                <c:pt idx="106">
                  <c:v>4880.3075713740554</c:v>
                </c:pt>
                <c:pt idx="107">
                  <c:v>5215.1953446308789</c:v>
                </c:pt>
                <c:pt idx="108">
                  <c:v>7688.4352850073019</c:v>
                </c:pt>
                <c:pt idx="109">
                  <c:v>10698.144988951082</c:v>
                </c:pt>
                <c:pt idx="110">
                  <c:v>8959.2127937749065</c:v>
                </c:pt>
                <c:pt idx="111">
                  <c:v>4712.800745497877</c:v>
                </c:pt>
                <c:pt idx="112">
                  <c:v>5141.466773224759</c:v>
                </c:pt>
                <c:pt idx="113">
                  <c:v>4866.1246925546066</c:v>
                </c:pt>
                <c:pt idx="114">
                  <c:v>5170.7966481629355</c:v>
                </c:pt>
                <c:pt idx="115">
                  <c:v>7093.7831983237802</c:v>
                </c:pt>
                <c:pt idx="116">
                  <c:v>9949.9181665960768</c:v>
                </c:pt>
                <c:pt idx="117">
                  <c:v>8098.9287154005715</c:v>
                </c:pt>
                <c:pt idx="118">
                  <c:v>3309.55391472472</c:v>
                </c:pt>
                <c:pt idx="119">
                  <c:v>3233.4487413674319</c:v>
                </c:pt>
                <c:pt idx="120">
                  <c:v>3130.656264176434</c:v>
                </c:pt>
                <c:pt idx="121">
                  <c:v>3356.3184328093394</c:v>
                </c:pt>
                <c:pt idx="122">
                  <c:v>5665.020531523217</c:v>
                </c:pt>
                <c:pt idx="123">
                  <c:v>7926.3248453784327</c:v>
                </c:pt>
                <c:pt idx="124">
                  <c:v>5539.8042863593901</c:v>
                </c:pt>
                <c:pt idx="125">
                  <c:v>2639.4956118663395</c:v>
                </c:pt>
                <c:pt idx="126">
                  <c:v>2701.316912007283</c:v>
                </c:pt>
                <c:pt idx="127">
                  <c:v>2878.0478466345676</c:v>
                </c:pt>
                <c:pt idx="128">
                  <c:v>3014.6114661634838</c:v>
                </c:pt>
                <c:pt idx="129">
                  <c:v>4787.3028734646678</c:v>
                </c:pt>
                <c:pt idx="130">
                  <c:v>6558.41250036158</c:v>
                </c:pt>
                <c:pt idx="131">
                  <c:v>5549.6162588445968</c:v>
                </c:pt>
                <c:pt idx="132">
                  <c:v>2852.8836100335666</c:v>
                </c:pt>
                <c:pt idx="133">
                  <c:v>2803.7782064127782</c:v>
                </c:pt>
                <c:pt idx="134">
                  <c:v>2971.1537072811011</c:v>
                </c:pt>
                <c:pt idx="135">
                  <c:v>3257.0143035740462</c:v>
                </c:pt>
                <c:pt idx="136">
                  <c:v>4872.5608857745037</c:v>
                </c:pt>
                <c:pt idx="137">
                  <c:v>7025.6611248645404</c:v>
                </c:pt>
                <c:pt idx="138">
                  <c:v>5559.345202333132</c:v>
                </c:pt>
                <c:pt idx="139">
                  <c:v>3115.4934600213355</c:v>
                </c:pt>
                <c:pt idx="140">
                  <c:v>3644.4723439656709</c:v>
                </c:pt>
                <c:pt idx="141">
                  <c:v>4048.2726121176152</c:v>
                </c:pt>
                <c:pt idx="142">
                  <c:v>5213.7141957947415</c:v>
                </c:pt>
                <c:pt idx="143">
                  <c:v>7677.3330036466614</c:v>
                </c:pt>
                <c:pt idx="144">
                  <c:v>11574.183353120092</c:v>
                </c:pt>
                <c:pt idx="145">
                  <c:v>8448.9666564679319</c:v>
                </c:pt>
                <c:pt idx="146">
                  <c:v>3516.8793404219864</c:v>
                </c:pt>
                <c:pt idx="147">
                  <c:v>3157.202459598765</c:v>
                </c:pt>
                <c:pt idx="148">
                  <c:v>3146.3703052235678</c:v>
                </c:pt>
                <c:pt idx="149">
                  <c:v>3161.8181484261645</c:v>
                </c:pt>
                <c:pt idx="150">
                  <c:v>5146.8065569776627</c:v>
                </c:pt>
                <c:pt idx="151">
                  <c:v>7802.1096339105579</c:v>
                </c:pt>
                <c:pt idx="152">
                  <c:v>6005.9877643405553</c:v>
                </c:pt>
                <c:pt idx="153">
                  <c:v>2657.2409588762262</c:v>
                </c:pt>
                <c:pt idx="154">
                  <c:v>2518.2641567234696</c:v>
                </c:pt>
                <c:pt idx="155">
                  <c:v>2996.0975681149057</c:v>
                </c:pt>
                <c:pt idx="156">
                  <c:v>2931.97181845463</c:v>
                </c:pt>
                <c:pt idx="157">
                  <c:v>4797.6045044219027</c:v>
                </c:pt>
                <c:pt idx="158">
                  <c:v>6718.5113262537989</c:v>
                </c:pt>
                <c:pt idx="159">
                  <c:v>5639.2944491717271</c:v>
                </c:pt>
                <c:pt idx="160">
                  <c:v>2452.9670403932259</c:v>
                </c:pt>
                <c:pt idx="161">
                  <c:v>2486.1208055726406</c:v>
                </c:pt>
                <c:pt idx="162">
                  <c:v>2590.7733462441106</c:v>
                </c:pt>
                <c:pt idx="163">
                  <c:v>2772.5704409190207</c:v>
                </c:pt>
                <c:pt idx="164">
                  <c:v>4729.1395151047036</c:v>
                </c:pt>
                <c:pt idx="165">
                  <c:v>6990.7809792394974</c:v>
                </c:pt>
                <c:pt idx="166">
                  <c:v>5737.3522626475233</c:v>
                </c:pt>
                <c:pt idx="167">
                  <c:v>2907.7222632648113</c:v>
                </c:pt>
                <c:pt idx="168">
                  <c:v>3214.4765509701183</c:v>
                </c:pt>
                <c:pt idx="169">
                  <c:v>3517.4466395158079</c:v>
                </c:pt>
                <c:pt idx="170">
                  <c:v>3684.0704143468411</c:v>
                </c:pt>
                <c:pt idx="171">
                  <c:v>6052.5583449672895</c:v>
                </c:pt>
                <c:pt idx="172">
                  <c:v>8738.2439129534068</c:v>
                </c:pt>
                <c:pt idx="173">
                  <c:v>7603.3931165320328</c:v>
                </c:pt>
                <c:pt idx="174">
                  <c:v>3530.0954850012768</c:v>
                </c:pt>
                <c:pt idx="175">
                  <c:v>3436.357346095248</c:v>
                </c:pt>
                <c:pt idx="176">
                  <c:v>3714.9082128408672</c:v>
                </c:pt>
                <c:pt idx="177">
                  <c:v>4409.4642925200005</c:v>
                </c:pt>
                <c:pt idx="178">
                  <c:v>6798.0664072133413</c:v>
                </c:pt>
                <c:pt idx="179">
                  <c:v>9142.9915731397523</c:v>
                </c:pt>
                <c:pt idx="180">
                  <c:v>7955.4740870131436</c:v>
                </c:pt>
                <c:pt idx="181">
                  <c:v>3903.2136545716635</c:v>
                </c:pt>
                <c:pt idx="182">
                  <c:v>4847.5950716991129</c:v>
                </c:pt>
                <c:pt idx="183">
                  <c:v>5218.693390409876</c:v>
                </c:pt>
                <c:pt idx="184">
                  <c:v>6572.3185101416102</c:v>
                </c:pt>
                <c:pt idx="185">
                  <c:v>9380.7550071389014</c:v>
                </c:pt>
                <c:pt idx="186">
                  <c:v>13177.028882536444</c:v>
                </c:pt>
                <c:pt idx="187">
                  <c:v>11352.565002365594</c:v>
                </c:pt>
                <c:pt idx="188">
                  <c:v>5209.7973177681342</c:v>
                </c:pt>
                <c:pt idx="189">
                  <c:v>5193.4398316905881</c:v>
                </c:pt>
                <c:pt idx="190">
                  <c:v>5752.0852022866457</c:v>
                </c:pt>
                <c:pt idx="191">
                  <c:v>6608.8496001601934</c:v>
                </c:pt>
                <c:pt idx="192">
                  <c:v>9505.7749366695389</c:v>
                </c:pt>
                <c:pt idx="193">
                  <c:v>11439.799618629322</c:v>
                </c:pt>
                <c:pt idx="194">
                  <c:v>9327.6929438625266</c:v>
                </c:pt>
                <c:pt idx="195">
                  <c:v>5742.0901634879765</c:v>
                </c:pt>
                <c:pt idx="196">
                  <c:v>6597.4628524321597</c:v>
                </c:pt>
                <c:pt idx="197">
                  <c:v>8604.5646630685133</c:v>
                </c:pt>
                <c:pt idx="198">
                  <c:v>6991.5736277095511</c:v>
                </c:pt>
                <c:pt idx="199">
                  <c:v>6568.8586392646066</c:v>
                </c:pt>
                <c:pt idx="200">
                  <c:v>7561.7418481125169</c:v>
                </c:pt>
                <c:pt idx="201">
                  <c:v>7018.3727811199715</c:v>
                </c:pt>
                <c:pt idx="202">
                  <c:v>4587.3855902417999</c:v>
                </c:pt>
                <c:pt idx="203">
                  <c:v>10667.029901980641</c:v>
                </c:pt>
                <c:pt idx="204">
                  <c:v>9870.2199603006229</c:v>
                </c:pt>
                <c:pt idx="205">
                  <c:v>4567.053177869202</c:v>
                </c:pt>
                <c:pt idx="206">
                  <c:v>6278.220343735039</c:v>
                </c:pt>
                <c:pt idx="207">
                  <c:v>8210.2540472396759</c:v>
                </c:pt>
                <c:pt idx="208">
                  <c:v>6993.5843697746186</c:v>
                </c:pt>
                <c:pt idx="209">
                  <c:v>3737.2790245438873</c:v>
                </c:pt>
                <c:pt idx="210">
                  <c:v>3367.988525242376</c:v>
                </c:pt>
                <c:pt idx="211">
                  <c:v>3416.4788070138111</c:v>
                </c:pt>
                <c:pt idx="212">
                  <c:v>3548.3513943447761</c:v>
                </c:pt>
                <c:pt idx="213">
                  <c:v>5139.1501251439195</c:v>
                </c:pt>
                <c:pt idx="214">
                  <c:v>7441.3081063328254</c:v>
                </c:pt>
                <c:pt idx="215">
                  <c:v>6007.9315711047266</c:v>
                </c:pt>
                <c:pt idx="216">
                  <c:v>3149.5551536305661</c:v>
                </c:pt>
                <c:pt idx="217">
                  <c:v>3216.1084260684179</c:v>
                </c:pt>
                <c:pt idx="218">
                  <c:v>3140.0253643979604</c:v>
                </c:pt>
                <c:pt idx="219">
                  <c:v>3320.7241560831399</c:v>
                </c:pt>
                <c:pt idx="220">
                  <c:v>5227.6096752554795</c:v>
                </c:pt>
                <c:pt idx="221">
                  <c:v>7127.8121217247271</c:v>
                </c:pt>
                <c:pt idx="222">
                  <c:v>5736.4471217145474</c:v>
                </c:pt>
                <c:pt idx="223">
                  <c:v>2713.2013445980006</c:v>
                </c:pt>
                <c:pt idx="224">
                  <c:v>2770.4240695763169</c:v>
                </c:pt>
                <c:pt idx="225">
                  <c:v>2963.8296379510857</c:v>
                </c:pt>
                <c:pt idx="226">
                  <c:v>3194.4246770938894</c:v>
                </c:pt>
                <c:pt idx="227">
                  <c:v>5106.9487718556838</c:v>
                </c:pt>
                <c:pt idx="228">
                  <c:v>7548.326405426229</c:v>
                </c:pt>
                <c:pt idx="229">
                  <c:v>6479.8956633369771</c:v>
                </c:pt>
                <c:pt idx="230">
                  <c:v>3102.1202795242407</c:v>
                </c:pt>
                <c:pt idx="231">
                  <c:v>3132.781152275928</c:v>
                </c:pt>
                <c:pt idx="232">
                  <c:v>3245.897398363526</c:v>
                </c:pt>
                <c:pt idx="233">
                  <c:v>3308.2995494302199</c:v>
                </c:pt>
                <c:pt idx="234">
                  <c:v>5254.1911945851471</c:v>
                </c:pt>
                <c:pt idx="235">
                  <c:v>7663.123419538877</c:v>
                </c:pt>
                <c:pt idx="236">
                  <c:v>6400.6953446586976</c:v>
                </c:pt>
                <c:pt idx="237">
                  <c:v>3109.7873797273419</c:v>
                </c:pt>
                <c:pt idx="238">
                  <c:v>2961.9077504831407</c:v>
                </c:pt>
                <c:pt idx="239">
                  <c:v>3042.6598863393228</c:v>
                </c:pt>
                <c:pt idx="240">
                  <c:v>3188.4865095296764</c:v>
                </c:pt>
                <c:pt idx="241">
                  <c:v>4988.1471843017316</c:v>
                </c:pt>
                <c:pt idx="242">
                  <c:v>7451.7746631720038</c:v>
                </c:pt>
                <c:pt idx="243">
                  <c:v>6617.8977696649581</c:v>
                </c:pt>
                <c:pt idx="244">
                  <c:v>3086.7550045485218</c:v>
                </c:pt>
                <c:pt idx="245">
                  <c:v>3036.3706090479427</c:v>
                </c:pt>
                <c:pt idx="246">
                  <c:v>3269.0035613450173</c:v>
                </c:pt>
                <c:pt idx="247">
                  <c:v>3632.2837122575975</c:v>
                </c:pt>
                <c:pt idx="248">
                  <c:v>5801.9797279270233</c:v>
                </c:pt>
                <c:pt idx="249">
                  <c:v>9237.0939205183222</c:v>
                </c:pt>
                <c:pt idx="250">
                  <c:v>7847.7613948733497</c:v>
                </c:pt>
                <c:pt idx="251">
                  <c:v>3513.1448155466228</c:v>
                </c:pt>
                <c:pt idx="252">
                  <c:v>3180.6893190468841</c:v>
                </c:pt>
                <c:pt idx="253">
                  <c:v>3028.4081336709037</c:v>
                </c:pt>
                <c:pt idx="254">
                  <c:v>3378.421944079575</c:v>
                </c:pt>
                <c:pt idx="255">
                  <c:v>5154.8715980844991</c:v>
                </c:pt>
                <c:pt idx="256">
                  <c:v>7845.9035490310371</c:v>
                </c:pt>
                <c:pt idx="257">
                  <c:v>6534.5086175575007</c:v>
                </c:pt>
                <c:pt idx="258">
                  <c:v>3142.6950107134107</c:v>
                </c:pt>
                <c:pt idx="259">
                  <c:v>3208.2371235536275</c:v>
                </c:pt>
                <c:pt idx="260">
                  <c:v>3489.5664734394968</c:v>
                </c:pt>
                <c:pt idx="261">
                  <c:v>3906.9997361251112</c:v>
                </c:pt>
                <c:pt idx="262">
                  <c:v>5990.5710642255144</c:v>
                </c:pt>
                <c:pt idx="263">
                  <c:v>8806.0668025009272</c:v>
                </c:pt>
                <c:pt idx="264">
                  <c:v>7320.7542323884118</c:v>
                </c:pt>
                <c:pt idx="265">
                  <c:v>3887.6665719482462</c:v>
                </c:pt>
                <c:pt idx="266">
                  <c:v>3812.8295416138835</c:v>
                </c:pt>
                <c:pt idx="267">
                  <c:v>4010.7463920418172</c:v>
                </c:pt>
                <c:pt idx="268">
                  <c:v>4420.1706542666734</c:v>
                </c:pt>
                <c:pt idx="269">
                  <c:v>6108.1737082537957</c:v>
                </c:pt>
                <c:pt idx="270">
                  <c:v>8303.5995352078698</c:v>
                </c:pt>
                <c:pt idx="271">
                  <c:v>6899.1812352374391</c:v>
                </c:pt>
                <c:pt idx="272">
                  <c:v>3780.1510457147338</c:v>
                </c:pt>
                <c:pt idx="273">
                  <c:v>3616.9939396644359</c:v>
                </c:pt>
                <c:pt idx="274">
                  <c:v>3653.8470688371608</c:v>
                </c:pt>
                <c:pt idx="275">
                  <c:v>3580.388979212401</c:v>
                </c:pt>
                <c:pt idx="276">
                  <c:v>5207.8328550129736</c:v>
                </c:pt>
                <c:pt idx="277">
                  <c:v>6748.7316092342026</c:v>
                </c:pt>
                <c:pt idx="278">
                  <c:v>5470.9797679361527</c:v>
                </c:pt>
                <c:pt idx="279">
                  <c:v>2971.2188907323493</c:v>
                </c:pt>
                <c:pt idx="280">
                  <c:v>2577.9306461225033</c:v>
                </c:pt>
                <c:pt idx="281">
                  <c:v>2412.775903268966</c:v>
                </c:pt>
                <c:pt idx="282">
                  <c:v>2312.8597188019471</c:v>
                </c:pt>
                <c:pt idx="283">
                  <c:v>2275.2538896062224</c:v>
                </c:pt>
                <c:pt idx="284">
                  <c:v>1963.5114699402236</c:v>
                </c:pt>
                <c:pt idx="285">
                  <c:v>1641.2179107153315</c:v>
                </c:pt>
                <c:pt idx="286">
                  <c:v>1338.5878753061634</c:v>
                </c:pt>
                <c:pt idx="287">
                  <c:v>1010.9817653257047</c:v>
                </c:pt>
                <c:pt idx="288">
                  <c:v>882.66780745052301</c:v>
                </c:pt>
                <c:pt idx="289">
                  <c:v>789.01850034098538</c:v>
                </c:pt>
                <c:pt idx="290">
                  <c:v>789.42665641144424</c:v>
                </c:pt>
                <c:pt idx="291">
                  <c:v>771.27194048767171</c:v>
                </c:pt>
                <c:pt idx="292">
                  <c:v>667.06502573368721</c:v>
                </c:pt>
                <c:pt idx="293">
                  <c:v>617.97087272950898</c:v>
                </c:pt>
                <c:pt idx="294">
                  <c:v>520.47218277655622</c:v>
                </c:pt>
                <c:pt idx="295">
                  <c:v>512.15490653298389</c:v>
                </c:pt>
                <c:pt idx="296">
                  <c:v>501.96978386703233</c:v>
                </c:pt>
                <c:pt idx="297">
                  <c:v>483.14704850949215</c:v>
                </c:pt>
                <c:pt idx="298">
                  <c:v>499.41111934507808</c:v>
                </c:pt>
                <c:pt idx="299">
                  <c:v>483.79956513431296</c:v>
                </c:pt>
                <c:pt idx="300">
                  <c:v>447.3638654717904</c:v>
                </c:pt>
                <c:pt idx="301">
                  <c:v>433.47464763246199</c:v>
                </c:pt>
                <c:pt idx="302">
                  <c:v>436.45963178441599</c:v>
                </c:pt>
                <c:pt idx="303">
                  <c:v>423.79282268372862</c:v>
                </c:pt>
                <c:pt idx="304">
                  <c:v>403.42873463964986</c:v>
                </c:pt>
                <c:pt idx="305">
                  <c:v>465.1650103430087</c:v>
                </c:pt>
                <c:pt idx="306">
                  <c:v>443.92896204771978</c:v>
                </c:pt>
                <c:pt idx="307">
                  <c:v>378.2989361119985</c:v>
                </c:pt>
                <c:pt idx="308">
                  <c:v>444.30882337162984</c:v>
                </c:pt>
                <c:pt idx="309">
                  <c:v>452.88551815844733</c:v>
                </c:pt>
                <c:pt idx="310">
                  <c:v>451.66365317817457</c:v>
                </c:pt>
                <c:pt idx="311">
                  <c:v>439.50433362984808</c:v>
                </c:pt>
                <c:pt idx="312">
                  <c:v>613.08728370105439</c:v>
                </c:pt>
                <c:pt idx="313">
                  <c:v>466.99759467024006</c:v>
                </c:pt>
                <c:pt idx="314">
                  <c:v>442.0017276183678</c:v>
                </c:pt>
                <c:pt idx="315">
                  <c:v>444.6368707720369</c:v>
                </c:pt>
                <c:pt idx="316">
                  <c:v>476.97381695480891</c:v>
                </c:pt>
                <c:pt idx="317">
                  <c:v>454.71816753099534</c:v>
                </c:pt>
                <c:pt idx="318">
                  <c:v>447.46400388281398</c:v>
                </c:pt>
                <c:pt idx="319">
                  <c:v>514.24237246771361</c:v>
                </c:pt>
                <c:pt idx="320">
                  <c:v>503.19635819088626</c:v>
                </c:pt>
                <c:pt idx="321">
                  <c:v>477.56373173750768</c:v>
                </c:pt>
                <c:pt idx="322">
                  <c:v>501.22600744647264</c:v>
                </c:pt>
                <c:pt idx="323">
                  <c:v>583.75884743290032</c:v>
                </c:pt>
                <c:pt idx="324">
                  <c:v>519.65759992580217</c:v>
                </c:pt>
                <c:pt idx="325">
                  <c:v>583.8685764560413</c:v>
                </c:pt>
                <c:pt idx="326">
                  <c:v>607.79685038059199</c:v>
                </c:pt>
                <c:pt idx="327">
                  <c:v>600.50420478951912</c:v>
                </c:pt>
                <c:pt idx="328">
                  <c:v>496.1593148090289</c:v>
                </c:pt>
                <c:pt idx="329">
                  <c:v>492.8409135801773</c:v>
                </c:pt>
                <c:pt idx="330">
                  <c:v>518.2133651574735</c:v>
                </c:pt>
                <c:pt idx="331">
                  <c:v>519.42975863939182</c:v>
                </c:pt>
                <c:pt idx="332">
                  <c:v>488.84240784740678</c:v>
                </c:pt>
                <c:pt idx="333">
                  <c:v>563.42283153006008</c:v>
                </c:pt>
                <c:pt idx="334">
                  <c:v>575.84147684539244</c:v>
                </c:pt>
                <c:pt idx="335">
                  <c:v>535.31477278578666</c:v>
                </c:pt>
                <c:pt idx="336">
                  <c:v>533.61099166119368</c:v>
                </c:pt>
                <c:pt idx="337">
                  <c:v>548.07056539989037</c:v>
                </c:pt>
                <c:pt idx="338">
                  <c:v>543.58377471535471</c:v>
                </c:pt>
                <c:pt idx="339">
                  <c:v>543.57708071156571</c:v>
                </c:pt>
                <c:pt idx="340">
                  <c:v>596.5148651482084</c:v>
                </c:pt>
                <c:pt idx="341">
                  <c:v>591.23342242261026</c:v>
                </c:pt>
                <c:pt idx="342">
                  <c:v>529.20535426020285</c:v>
                </c:pt>
                <c:pt idx="343">
                  <c:v>530.95433090100869</c:v>
                </c:pt>
                <c:pt idx="344">
                  <c:v>488.87386462130172</c:v>
                </c:pt>
                <c:pt idx="345">
                  <c:v>504.25894815466683</c:v>
                </c:pt>
                <c:pt idx="346">
                  <c:v>487.96990220211893</c:v>
                </c:pt>
                <c:pt idx="347">
                  <c:v>558.09610562708133</c:v>
                </c:pt>
                <c:pt idx="348">
                  <c:v>456.63879203901479</c:v>
                </c:pt>
                <c:pt idx="349">
                  <c:v>397.37249799541735</c:v>
                </c:pt>
                <c:pt idx="350">
                  <c:v>493.53443543581699</c:v>
                </c:pt>
                <c:pt idx="351">
                  <c:v>505.61253554757803</c:v>
                </c:pt>
                <c:pt idx="352">
                  <c:v>592.43934455887018</c:v>
                </c:pt>
                <c:pt idx="353">
                  <c:v>551.82749306532924</c:v>
                </c:pt>
                <c:pt idx="354">
                  <c:v>619.55405019964553</c:v>
                </c:pt>
                <c:pt idx="355">
                  <c:v>601.76650639937247</c:v>
                </c:pt>
                <c:pt idx="356">
                  <c:v>521.13646589204166</c:v>
                </c:pt>
                <c:pt idx="357">
                  <c:v>568.80434194517363</c:v>
                </c:pt>
                <c:pt idx="358">
                  <c:v>598.86787523499345</c:v>
                </c:pt>
                <c:pt idx="359">
                  <c:v>1175.6982466060497</c:v>
                </c:pt>
                <c:pt idx="360">
                  <c:v>643.61723333193254</c:v>
                </c:pt>
                <c:pt idx="361">
                  <c:v>906.09884438668155</c:v>
                </c:pt>
                <c:pt idx="362">
                  <c:v>800.13850929533737</c:v>
                </c:pt>
                <c:pt idx="363">
                  <c:v>660.45182165353367</c:v>
                </c:pt>
                <c:pt idx="364">
                  <c:v>680.66421248305517</c:v>
                </c:pt>
                <c:pt idx="365">
                  <c:v>708.37787706690949</c:v>
                </c:pt>
                <c:pt idx="366">
                  <c:v>927.76495710395989</c:v>
                </c:pt>
                <c:pt idx="367">
                  <c:v>966.2793907933119</c:v>
                </c:pt>
                <c:pt idx="368">
                  <c:v>976.27460775143606</c:v>
                </c:pt>
                <c:pt idx="369">
                  <c:v>847.33149500509796</c:v>
                </c:pt>
                <c:pt idx="370">
                  <c:v>917.77369172161491</c:v>
                </c:pt>
                <c:pt idx="371">
                  <c:v>810.23112216949039</c:v>
                </c:pt>
                <c:pt idx="372">
                  <c:v>826.07567295193701</c:v>
                </c:pt>
                <c:pt idx="373">
                  <c:v>1161.0727200146455</c:v>
                </c:pt>
                <c:pt idx="374">
                  <c:v>1243.851715692658</c:v>
                </c:pt>
                <c:pt idx="375">
                  <c:v>1427.2433746896918</c:v>
                </c:pt>
                <c:pt idx="376">
                  <c:v>1093.4799680447702</c:v>
                </c:pt>
                <c:pt idx="377">
                  <c:v>910.72179213059064</c:v>
                </c:pt>
                <c:pt idx="378">
                  <c:v>928.08228985345261</c:v>
                </c:pt>
                <c:pt idx="379">
                  <c:v>954.36974841548874</c:v>
                </c:pt>
                <c:pt idx="380">
                  <c:v>1325.7573272427026</c:v>
                </c:pt>
                <c:pt idx="381">
                  <c:v>1040.2611830448602</c:v>
                </c:pt>
                <c:pt idx="382">
                  <c:v>1392.4921479366137</c:v>
                </c:pt>
                <c:pt idx="383">
                  <c:v>1176.2952081317253</c:v>
                </c:pt>
                <c:pt idx="384">
                  <c:v>957.00291870670969</c:v>
                </c:pt>
                <c:pt idx="385">
                  <c:v>953.75262849487819</c:v>
                </c:pt>
                <c:pt idx="386">
                  <c:v>970.65638178351855</c:v>
                </c:pt>
                <c:pt idx="387">
                  <c:v>1262.2357469512858</c:v>
                </c:pt>
                <c:pt idx="388">
                  <c:v>1092.2472389254665</c:v>
                </c:pt>
                <c:pt idx="389">
                  <c:v>1450.9112613850243</c:v>
                </c:pt>
                <c:pt idx="390">
                  <c:v>1242.9636086023631</c:v>
                </c:pt>
                <c:pt idx="391">
                  <c:v>1053.4198379497361</c:v>
                </c:pt>
                <c:pt idx="392">
                  <c:v>1003.9620619485839</c:v>
                </c:pt>
                <c:pt idx="393">
                  <c:v>1067.2507249312721</c:v>
                </c:pt>
                <c:pt idx="394">
                  <c:v>1245.985573375008</c:v>
                </c:pt>
                <c:pt idx="395">
                  <c:v>2614.4836337587667</c:v>
                </c:pt>
                <c:pt idx="396">
                  <c:v>2987.8832777173188</c:v>
                </c:pt>
                <c:pt idx="397">
                  <c:v>2409.5306281715766</c:v>
                </c:pt>
                <c:pt idx="398">
                  <c:v>1484.5585712306668</c:v>
                </c:pt>
                <c:pt idx="399">
                  <c:v>1054.6869731673637</c:v>
                </c:pt>
                <c:pt idx="400">
                  <c:v>1059.3687746468859</c:v>
                </c:pt>
                <c:pt idx="401">
                  <c:v>1292.1311683132628</c:v>
                </c:pt>
                <c:pt idx="402">
                  <c:v>2445.9655743589237</c:v>
                </c:pt>
                <c:pt idx="403">
                  <c:v>3460.4383602878547</c:v>
                </c:pt>
                <c:pt idx="404">
                  <c:v>2819.6857849467151</c:v>
                </c:pt>
                <c:pt idx="405">
                  <c:v>1320.7568761181728</c:v>
                </c:pt>
                <c:pt idx="406">
                  <c:v>1333.9105732592718</c:v>
                </c:pt>
                <c:pt idx="407">
                  <c:v>1386.8563167862574</c:v>
                </c:pt>
                <c:pt idx="408">
                  <c:v>1652.0952155048433</c:v>
                </c:pt>
                <c:pt idx="409">
                  <c:v>3273.4356907010397</c:v>
                </c:pt>
                <c:pt idx="410">
                  <c:v>4029.4518536437558</c:v>
                </c:pt>
                <c:pt idx="411">
                  <c:v>3321.1278239288454</c:v>
                </c:pt>
                <c:pt idx="412">
                  <c:v>1633.262930011643</c:v>
                </c:pt>
                <c:pt idx="413">
                  <c:v>1790.7410798246669</c:v>
                </c:pt>
                <c:pt idx="414">
                  <c:v>1863.227702964796</c:v>
                </c:pt>
                <c:pt idx="415">
                  <c:v>2296.6426501927717</c:v>
                </c:pt>
                <c:pt idx="416">
                  <c:v>3900.4488654764882</c:v>
                </c:pt>
                <c:pt idx="417">
                  <c:v>5169.9665940946425</c:v>
                </c:pt>
                <c:pt idx="418">
                  <c:v>4238.5520939391981</c:v>
                </c:pt>
                <c:pt idx="419">
                  <c:v>2293.8756398208188</c:v>
                </c:pt>
                <c:pt idx="420">
                  <c:v>2354.2963859374509</c:v>
                </c:pt>
                <c:pt idx="421">
                  <c:v>2482.4937230647674</c:v>
                </c:pt>
                <c:pt idx="422">
                  <c:v>3063.0934570194777</c:v>
                </c:pt>
                <c:pt idx="423">
                  <c:v>4104.5956211692801</c:v>
                </c:pt>
                <c:pt idx="424">
                  <c:v>5379.6278638630547</c:v>
                </c:pt>
                <c:pt idx="425">
                  <c:v>4479.428103295656</c:v>
                </c:pt>
                <c:pt idx="426">
                  <c:v>2508.2094196788876</c:v>
                </c:pt>
                <c:pt idx="427">
                  <c:v>2552.2260617381207</c:v>
                </c:pt>
                <c:pt idx="428">
                  <c:v>2648.5389838287738</c:v>
                </c:pt>
                <c:pt idx="429">
                  <c:v>2880.1772537925553</c:v>
                </c:pt>
                <c:pt idx="430">
                  <c:v>4302.5823220607117</c:v>
                </c:pt>
                <c:pt idx="431">
                  <c:v>5426.3800769724685</c:v>
                </c:pt>
                <c:pt idx="432">
                  <c:v>4496.6027526717826</c:v>
                </c:pt>
                <c:pt idx="433">
                  <c:v>2557.5933508594858</c:v>
                </c:pt>
                <c:pt idx="434">
                  <c:v>2556.3830190914287</c:v>
                </c:pt>
                <c:pt idx="435">
                  <c:v>2777.839403726598</c:v>
                </c:pt>
                <c:pt idx="436">
                  <c:v>2875.1520071944924</c:v>
                </c:pt>
                <c:pt idx="437">
                  <c:v>4554.4114447056327</c:v>
                </c:pt>
                <c:pt idx="438">
                  <c:v>5615.8278291066918</c:v>
                </c:pt>
                <c:pt idx="439">
                  <c:v>4698.9932883102774</c:v>
                </c:pt>
                <c:pt idx="440">
                  <c:v>2764.6284898802428</c:v>
                </c:pt>
                <c:pt idx="441">
                  <c:v>3000.8439106740593</c:v>
                </c:pt>
                <c:pt idx="442">
                  <c:v>3075.3066846430243</c:v>
                </c:pt>
                <c:pt idx="443">
                  <c:v>3235.4557487708425</c:v>
                </c:pt>
                <c:pt idx="444">
                  <c:v>5122.3358759690236</c:v>
                </c:pt>
                <c:pt idx="445">
                  <c:v>7145.2797934940718</c:v>
                </c:pt>
                <c:pt idx="446">
                  <c:v>6571.7928915125131</c:v>
                </c:pt>
                <c:pt idx="447">
                  <c:v>4526.7270746205513</c:v>
                </c:pt>
                <c:pt idx="448">
                  <c:v>2960.5832495190089</c:v>
                </c:pt>
                <c:pt idx="449">
                  <c:v>2976.9163300447894</c:v>
                </c:pt>
                <c:pt idx="450">
                  <c:v>3244.8454421771185</c:v>
                </c:pt>
                <c:pt idx="451">
                  <c:v>4725.8912102104514</c:v>
                </c:pt>
                <c:pt idx="452">
                  <c:v>6359.815685786959</c:v>
                </c:pt>
                <c:pt idx="453">
                  <c:v>5283.2263707955963</c:v>
                </c:pt>
                <c:pt idx="454">
                  <c:v>2934.6576885568802</c:v>
                </c:pt>
                <c:pt idx="455">
                  <c:v>3066.4997424048975</c:v>
                </c:pt>
                <c:pt idx="456">
                  <c:v>3203.7599227605879</c:v>
                </c:pt>
                <c:pt idx="457">
                  <c:v>3566.5045899364677</c:v>
                </c:pt>
                <c:pt idx="458">
                  <c:v>5095.7957097869976</c:v>
                </c:pt>
                <c:pt idx="459">
                  <c:v>7003.3877178248331</c:v>
                </c:pt>
                <c:pt idx="460">
                  <c:v>6121.886001773707</c:v>
                </c:pt>
                <c:pt idx="461">
                  <c:v>3195.9184054182911</c:v>
                </c:pt>
                <c:pt idx="462">
                  <c:v>3106.6086932749145</c:v>
                </c:pt>
                <c:pt idx="463">
                  <c:v>3050.006780668587</c:v>
                </c:pt>
                <c:pt idx="464">
                  <c:v>3552.1789464903609</c:v>
                </c:pt>
                <c:pt idx="465">
                  <c:v>4712.8494660239348</c:v>
                </c:pt>
                <c:pt idx="466">
                  <c:v>5892.3092954230333</c:v>
                </c:pt>
                <c:pt idx="467">
                  <c:v>4913.7196301252443</c:v>
                </c:pt>
                <c:pt idx="468">
                  <c:v>3025.5276123008625</c:v>
                </c:pt>
                <c:pt idx="469">
                  <c:v>3452.9607267907559</c:v>
                </c:pt>
                <c:pt idx="470">
                  <c:v>3733.9106198424988</c:v>
                </c:pt>
                <c:pt idx="471">
                  <c:v>4284.9916167694482</c:v>
                </c:pt>
                <c:pt idx="472">
                  <c:v>5806.0824147158892</c:v>
                </c:pt>
                <c:pt idx="473">
                  <c:v>8145.7504816385826</c:v>
                </c:pt>
                <c:pt idx="474">
                  <c:v>6535.096963646155</c:v>
                </c:pt>
                <c:pt idx="475">
                  <c:v>4262.0196866967945</c:v>
                </c:pt>
                <c:pt idx="476">
                  <c:v>4211.9460165004948</c:v>
                </c:pt>
                <c:pt idx="477">
                  <c:v>4566.2330006164029</c:v>
                </c:pt>
                <c:pt idx="478">
                  <c:v>4691.9069875321111</c:v>
                </c:pt>
                <c:pt idx="479">
                  <c:v>6906.5024331126542</c:v>
                </c:pt>
                <c:pt idx="480">
                  <c:v>8538.7687694188407</c:v>
                </c:pt>
                <c:pt idx="481">
                  <c:v>7724.6084926385975</c:v>
                </c:pt>
                <c:pt idx="482">
                  <c:v>4424.3284708878273</c:v>
                </c:pt>
                <c:pt idx="483">
                  <c:v>4405.7589517975293</c:v>
                </c:pt>
                <c:pt idx="484">
                  <c:v>4864.2250562314066</c:v>
                </c:pt>
                <c:pt idx="485">
                  <c:v>4664.3478119850897</c:v>
                </c:pt>
                <c:pt idx="486">
                  <c:v>6306.3273853930987</c:v>
                </c:pt>
                <c:pt idx="487">
                  <c:v>8170.4129019656993</c:v>
                </c:pt>
                <c:pt idx="488">
                  <c:v>6720.4788447749797</c:v>
                </c:pt>
                <c:pt idx="489">
                  <c:v>4257.5052790684931</c:v>
                </c:pt>
                <c:pt idx="490">
                  <c:v>4359.3707169784784</c:v>
                </c:pt>
                <c:pt idx="491">
                  <c:v>4439.0327775671276</c:v>
                </c:pt>
                <c:pt idx="492">
                  <c:v>4961.7386463294542</c:v>
                </c:pt>
                <c:pt idx="493">
                  <c:v>6456.2481822466998</c:v>
                </c:pt>
                <c:pt idx="494">
                  <c:v>7599.9506994063131</c:v>
                </c:pt>
                <c:pt idx="495">
                  <c:v>5975.7225741492775</c:v>
                </c:pt>
                <c:pt idx="496">
                  <c:v>3881.9103702463849</c:v>
                </c:pt>
                <c:pt idx="497">
                  <c:v>3744.5284548108866</c:v>
                </c:pt>
                <c:pt idx="498">
                  <c:v>3777.4869284830938</c:v>
                </c:pt>
                <c:pt idx="499">
                  <c:v>3644.6619611436108</c:v>
                </c:pt>
                <c:pt idx="500">
                  <c:v>4662.4155651978881</c:v>
                </c:pt>
                <c:pt idx="501">
                  <c:v>5507.1194798700526</c:v>
                </c:pt>
                <c:pt idx="502">
                  <c:v>4653.2212111530935</c:v>
                </c:pt>
                <c:pt idx="503">
                  <c:v>2913.4916754747301</c:v>
                </c:pt>
                <c:pt idx="504">
                  <c:v>2806.8587124991982</c:v>
                </c:pt>
                <c:pt idx="505">
                  <c:v>2824.6317552980304</c:v>
                </c:pt>
                <c:pt idx="506">
                  <c:v>2871.3628630887247</c:v>
                </c:pt>
                <c:pt idx="507">
                  <c:v>4494.0999279884709</c:v>
                </c:pt>
                <c:pt idx="508">
                  <c:v>5595.0957516059507</c:v>
                </c:pt>
                <c:pt idx="509">
                  <c:v>4325.1441948730999</c:v>
                </c:pt>
                <c:pt idx="510">
                  <c:v>2091.8532850834717</c:v>
                </c:pt>
                <c:pt idx="511">
                  <c:v>1944.4464465257995</c:v>
                </c:pt>
                <c:pt idx="512">
                  <c:v>1827.7095815470684</c:v>
                </c:pt>
                <c:pt idx="513">
                  <c:v>1465.9960240008577</c:v>
                </c:pt>
                <c:pt idx="514">
                  <c:v>1907.3861090608609</c:v>
                </c:pt>
                <c:pt idx="515">
                  <c:v>1476.7038472481913</c:v>
                </c:pt>
                <c:pt idx="516">
                  <c:v>1295.52884366134</c:v>
                </c:pt>
                <c:pt idx="517">
                  <c:v>1120.8842836426695</c:v>
                </c:pt>
                <c:pt idx="518">
                  <c:v>1114.8845602862546</c:v>
                </c:pt>
                <c:pt idx="519">
                  <c:v>1032.6493699988464</c:v>
                </c:pt>
                <c:pt idx="520">
                  <c:v>1058.6307691590257</c:v>
                </c:pt>
                <c:pt idx="521">
                  <c:v>992.46410406764824</c:v>
                </c:pt>
                <c:pt idx="522">
                  <c:v>1072.1266232024034</c:v>
                </c:pt>
                <c:pt idx="523">
                  <c:v>1150.7655424244476</c:v>
                </c:pt>
                <c:pt idx="524">
                  <c:v>961.14773797737541</c:v>
                </c:pt>
                <c:pt idx="525">
                  <c:v>854.20123371326417</c:v>
                </c:pt>
                <c:pt idx="526">
                  <c:v>871.35595498173006</c:v>
                </c:pt>
                <c:pt idx="527">
                  <c:v>860.13980020426436</c:v>
                </c:pt>
                <c:pt idx="528">
                  <c:v>850.41792171423197</c:v>
                </c:pt>
                <c:pt idx="529">
                  <c:v>968.46470737177231</c:v>
                </c:pt>
                <c:pt idx="530">
                  <c:v>918.57257976178346</c:v>
                </c:pt>
                <c:pt idx="531">
                  <c:v>791.76983537790966</c:v>
                </c:pt>
                <c:pt idx="532">
                  <c:v>841.95184041166965</c:v>
                </c:pt>
                <c:pt idx="533">
                  <c:v>814.52731914744527</c:v>
                </c:pt>
                <c:pt idx="534">
                  <c:v>842.69494495499544</c:v>
                </c:pt>
                <c:pt idx="535">
                  <c:v>845.75408758199342</c:v>
                </c:pt>
                <c:pt idx="536">
                  <c:v>950.36749943454697</c:v>
                </c:pt>
                <c:pt idx="537">
                  <c:v>907.09535377301211</c:v>
                </c:pt>
                <c:pt idx="538">
                  <c:v>761.86085917355342</c:v>
                </c:pt>
                <c:pt idx="539">
                  <c:v>801.05810247820318</c:v>
                </c:pt>
                <c:pt idx="540">
                  <c:v>940.42897877565088</c:v>
                </c:pt>
                <c:pt idx="541">
                  <c:v>1030.9142333385287</c:v>
                </c:pt>
                <c:pt idx="542">
                  <c:v>1213.8803295329008</c:v>
                </c:pt>
                <c:pt idx="543">
                  <c:v>2888.550877135272</c:v>
                </c:pt>
                <c:pt idx="544">
                  <c:v>2451.2991356802445</c:v>
                </c:pt>
                <c:pt idx="545">
                  <c:v>1021.5942421017247</c:v>
                </c:pt>
                <c:pt idx="546">
                  <c:v>1160.6451336068819</c:v>
                </c:pt>
                <c:pt idx="547">
                  <c:v>1188.3433427903622</c:v>
                </c:pt>
                <c:pt idx="548">
                  <c:v>1886.2161358492335</c:v>
                </c:pt>
                <c:pt idx="549">
                  <c:v>2977.859636623527</c:v>
                </c:pt>
                <c:pt idx="550">
                  <c:v>3989.7365145673079</c:v>
                </c:pt>
                <c:pt idx="551">
                  <c:v>3223.3572736861342</c:v>
                </c:pt>
                <c:pt idx="552">
                  <c:v>1732.3473343515971</c:v>
                </c:pt>
                <c:pt idx="553">
                  <c:v>1716.4852745353646</c:v>
                </c:pt>
                <c:pt idx="554">
                  <c:v>1480.8882253693905</c:v>
                </c:pt>
                <c:pt idx="555">
                  <c:v>1425.5333035519577</c:v>
                </c:pt>
                <c:pt idx="556">
                  <c:v>2454.9768457464638</c:v>
                </c:pt>
                <c:pt idx="557">
                  <c:v>2995.0622365819049</c:v>
                </c:pt>
                <c:pt idx="558">
                  <c:v>2495.8051883654662</c:v>
                </c:pt>
                <c:pt idx="559">
                  <c:v>1216.4532308772868</c:v>
                </c:pt>
                <c:pt idx="560">
                  <c:v>1239.8848695494455</c:v>
                </c:pt>
                <c:pt idx="561">
                  <c:v>1235.2851481976588</c:v>
                </c:pt>
                <c:pt idx="562">
                  <c:v>1339.067152755144</c:v>
                </c:pt>
                <c:pt idx="563">
                  <c:v>3204.3818294586622</c:v>
                </c:pt>
                <c:pt idx="564">
                  <c:v>3506.7638380580211</c:v>
                </c:pt>
                <c:pt idx="565">
                  <c:v>2539.4677825509011</c:v>
                </c:pt>
                <c:pt idx="566">
                  <c:v>1232.1380861528512</c:v>
                </c:pt>
                <c:pt idx="567">
                  <c:v>1229.8026128544102</c:v>
                </c:pt>
                <c:pt idx="568">
                  <c:v>1250.0764602312086</c:v>
                </c:pt>
                <c:pt idx="569">
                  <c:v>2612.5447115316906</c:v>
                </c:pt>
                <c:pt idx="570">
                  <c:v>2912.2323306981107</c:v>
                </c:pt>
                <c:pt idx="571">
                  <c:v>1251.5952941359756</c:v>
                </c:pt>
                <c:pt idx="572">
                  <c:v>1234.0755802365952</c:v>
                </c:pt>
                <c:pt idx="573">
                  <c:v>1106.4531260099625</c:v>
                </c:pt>
                <c:pt idx="574">
                  <c:v>1053.0778570768227</c:v>
                </c:pt>
                <c:pt idx="575">
                  <c:v>1033.5460602920061</c:v>
                </c:pt>
                <c:pt idx="576">
                  <c:v>1022.2971367253285</c:v>
                </c:pt>
                <c:pt idx="577">
                  <c:v>1026.2380671201051</c:v>
                </c:pt>
                <c:pt idx="578">
                  <c:v>1110.9819105133397</c:v>
                </c:pt>
                <c:pt idx="579">
                  <c:v>1060.3784325869547</c:v>
                </c:pt>
                <c:pt idx="580">
                  <c:v>904.49260015515506</c:v>
                </c:pt>
                <c:pt idx="581">
                  <c:v>834.632636420925</c:v>
                </c:pt>
                <c:pt idx="582">
                  <c:v>801.56232609694416</c:v>
                </c:pt>
                <c:pt idx="583">
                  <c:v>826.13382837764107</c:v>
                </c:pt>
                <c:pt idx="584">
                  <c:v>845.92312347474285</c:v>
                </c:pt>
                <c:pt idx="585">
                  <c:v>855.81046504883739</c:v>
                </c:pt>
                <c:pt idx="586">
                  <c:v>868.8737933480902</c:v>
                </c:pt>
                <c:pt idx="587">
                  <c:v>732.31950977668009</c:v>
                </c:pt>
                <c:pt idx="588">
                  <c:v>743.23782036857983</c:v>
                </c:pt>
                <c:pt idx="589">
                  <c:v>718.77459093448726</c:v>
                </c:pt>
                <c:pt idx="590">
                  <c:v>745.10185248549851</c:v>
                </c:pt>
                <c:pt idx="591">
                  <c:v>704.04423309657307</c:v>
                </c:pt>
                <c:pt idx="592">
                  <c:v>798.47372624973502</c:v>
                </c:pt>
                <c:pt idx="593">
                  <c:v>732.72465216613364</c:v>
                </c:pt>
                <c:pt idx="594">
                  <c:v>667.20052787136774</c:v>
                </c:pt>
                <c:pt idx="595">
                  <c:v>673.03400753903202</c:v>
                </c:pt>
                <c:pt idx="596">
                  <c:v>696.25594111340149</c:v>
                </c:pt>
                <c:pt idx="597">
                  <c:v>857.88160608417832</c:v>
                </c:pt>
                <c:pt idx="598">
                  <c:v>760.73848827625704</c:v>
                </c:pt>
                <c:pt idx="599">
                  <c:v>882.8740747460954</c:v>
                </c:pt>
                <c:pt idx="600">
                  <c:v>848.0347967878904</c:v>
                </c:pt>
                <c:pt idx="601">
                  <c:v>689.3115078377059</c:v>
                </c:pt>
                <c:pt idx="602">
                  <c:v>737.52180193553079</c:v>
                </c:pt>
                <c:pt idx="603">
                  <c:v>753.599312844005</c:v>
                </c:pt>
                <c:pt idx="604">
                  <c:v>877.98684549150551</c:v>
                </c:pt>
                <c:pt idx="605">
                  <c:v>860.95835811451673</c:v>
                </c:pt>
                <c:pt idx="606">
                  <c:v>1003.6833986796617</c:v>
                </c:pt>
                <c:pt idx="607">
                  <c:v>982.53818161183244</c:v>
                </c:pt>
                <c:pt idx="608">
                  <c:v>903.80356588633845</c:v>
                </c:pt>
                <c:pt idx="609">
                  <c:v>848.86969296350583</c:v>
                </c:pt>
                <c:pt idx="610">
                  <c:v>855.9944499259251</c:v>
                </c:pt>
                <c:pt idx="611">
                  <c:v>1207.8693827901143</c:v>
                </c:pt>
                <c:pt idx="612">
                  <c:v>952.74365427032296</c:v>
                </c:pt>
                <c:pt idx="613">
                  <c:v>1151.7042577830598</c:v>
                </c:pt>
                <c:pt idx="614">
                  <c:v>874.5326689603437</c:v>
                </c:pt>
                <c:pt idx="615">
                  <c:v>867.46064961724483</c:v>
                </c:pt>
                <c:pt idx="616">
                  <c:v>848.41367828746911</c:v>
                </c:pt>
                <c:pt idx="617">
                  <c:v>884.19499479501962</c:v>
                </c:pt>
                <c:pt idx="618">
                  <c:v>1220.415546902969</c:v>
                </c:pt>
                <c:pt idx="619">
                  <c:v>986.39393816159122</c:v>
                </c:pt>
                <c:pt idx="620">
                  <c:v>1191.9900305575304</c:v>
                </c:pt>
                <c:pt idx="621">
                  <c:v>973.33606635671151</c:v>
                </c:pt>
                <c:pt idx="622">
                  <c:v>855.31445289348187</c:v>
                </c:pt>
                <c:pt idx="623">
                  <c:v>835.26259219107715</c:v>
                </c:pt>
                <c:pt idx="624">
                  <c:v>830.72814954258411</c:v>
                </c:pt>
                <c:pt idx="625">
                  <c:v>1157.2029785135956</c:v>
                </c:pt>
                <c:pt idx="626">
                  <c:v>909.65650112592937</c:v>
                </c:pt>
                <c:pt idx="627">
                  <c:v>1095.5994481985047</c:v>
                </c:pt>
                <c:pt idx="628">
                  <c:v>910.0387175921162</c:v>
                </c:pt>
                <c:pt idx="629">
                  <c:v>792.66344228289222</c:v>
                </c:pt>
                <c:pt idx="630">
                  <c:v>808.5919940879711</c:v>
                </c:pt>
                <c:pt idx="631">
                  <c:v>888.35195039732582</c:v>
                </c:pt>
                <c:pt idx="632">
                  <c:v>1323.8868104297073</c:v>
                </c:pt>
                <c:pt idx="633">
                  <c:v>1040.0171878070914</c:v>
                </c:pt>
                <c:pt idx="634">
                  <c:v>1201.3140927801053</c:v>
                </c:pt>
                <c:pt idx="635">
                  <c:v>999.9549447014673</c:v>
                </c:pt>
                <c:pt idx="636">
                  <c:v>869.46382213077402</c:v>
                </c:pt>
                <c:pt idx="637">
                  <c:v>900.05919185317805</c:v>
                </c:pt>
                <c:pt idx="638">
                  <c:v>914.67792215480347</c:v>
                </c:pt>
                <c:pt idx="639">
                  <c:v>1312.4312390935079</c:v>
                </c:pt>
                <c:pt idx="640">
                  <c:v>1064.3699962722565</c:v>
                </c:pt>
                <c:pt idx="641">
                  <c:v>1323.3514126887901</c:v>
                </c:pt>
                <c:pt idx="642">
                  <c:v>1065.7719425026169</c:v>
                </c:pt>
                <c:pt idx="643">
                  <c:v>929.80321636104338</c:v>
                </c:pt>
                <c:pt idx="644">
                  <c:v>959.96527320900816</c:v>
                </c:pt>
                <c:pt idx="645">
                  <c:v>994.89879638430023</c:v>
                </c:pt>
                <c:pt idx="646">
                  <c:v>1270.085217976696</c:v>
                </c:pt>
                <c:pt idx="647">
                  <c:v>1166.1749496672453</c:v>
                </c:pt>
                <c:pt idx="648">
                  <c:v>1406.8231682782168</c:v>
                </c:pt>
                <c:pt idx="649">
                  <c:v>1183.4428575198224</c:v>
                </c:pt>
                <c:pt idx="650">
                  <c:v>1070.2016878539632</c:v>
                </c:pt>
                <c:pt idx="651">
                  <c:v>1106.6650854757872</c:v>
                </c:pt>
                <c:pt idx="652">
                  <c:v>1130.992941543996</c:v>
                </c:pt>
                <c:pt idx="653">
                  <c:v>1546.9898042910118</c:v>
                </c:pt>
                <c:pt idx="654">
                  <c:v>1355.0185554676102</c:v>
                </c:pt>
                <c:pt idx="655">
                  <c:v>1647.434846938474</c:v>
                </c:pt>
                <c:pt idx="656">
                  <c:v>1352.1508074101343</c:v>
                </c:pt>
                <c:pt idx="657">
                  <c:v>1211.1339337750865</c:v>
                </c:pt>
                <c:pt idx="658">
                  <c:v>1457.9627507266882</c:v>
                </c:pt>
                <c:pt idx="659">
                  <c:v>1662.7834736732564</c:v>
                </c:pt>
                <c:pt idx="660">
                  <c:v>2095.0155862100924</c:v>
                </c:pt>
                <c:pt idx="661">
                  <c:v>3012.1790715935094</c:v>
                </c:pt>
                <c:pt idx="662">
                  <c:v>3857.3963911986398</c:v>
                </c:pt>
                <c:pt idx="663">
                  <c:v>3449.1022821202951</c:v>
                </c:pt>
                <c:pt idx="664">
                  <c:v>2091.7116798329625</c:v>
                </c:pt>
                <c:pt idx="665">
                  <c:v>2041.280183421462</c:v>
                </c:pt>
                <c:pt idx="666">
                  <c:v>2096.4539171767747</c:v>
                </c:pt>
                <c:pt idx="667">
                  <c:v>2482.0531108958417</c:v>
                </c:pt>
                <c:pt idx="668">
                  <c:v>3480.9534518984005</c:v>
                </c:pt>
                <c:pt idx="669">
                  <c:v>4516.2627718206295</c:v>
                </c:pt>
                <c:pt idx="670">
                  <c:v>3843.6522890178849</c:v>
                </c:pt>
                <c:pt idx="671">
                  <c:v>2665.5031648475715</c:v>
                </c:pt>
                <c:pt idx="672">
                  <c:v>2311.923017871135</c:v>
                </c:pt>
                <c:pt idx="673">
                  <c:v>2178.2961928162472</c:v>
                </c:pt>
                <c:pt idx="674">
                  <c:v>2487.4202641278644</c:v>
                </c:pt>
                <c:pt idx="675">
                  <c:v>3585.6858604794229</c:v>
                </c:pt>
                <c:pt idx="676">
                  <c:v>4765.4852441886042</c:v>
                </c:pt>
                <c:pt idx="677">
                  <c:v>3658.0708203675035</c:v>
                </c:pt>
                <c:pt idx="678">
                  <c:v>1879.6644244779768</c:v>
                </c:pt>
                <c:pt idx="679">
                  <c:v>2090.6722640975904</c:v>
                </c:pt>
                <c:pt idx="680">
                  <c:v>2124.4550850328251</c:v>
                </c:pt>
                <c:pt idx="681">
                  <c:v>2285.2612479638547</c:v>
                </c:pt>
                <c:pt idx="682">
                  <c:v>3677.6644174720104</c:v>
                </c:pt>
                <c:pt idx="683">
                  <c:v>4900.8414427870184</c:v>
                </c:pt>
                <c:pt idx="684">
                  <c:v>3867.5455411436074</c:v>
                </c:pt>
                <c:pt idx="685">
                  <c:v>2198.8635613002011</c:v>
                </c:pt>
                <c:pt idx="686">
                  <c:v>2206.6720721395627</c:v>
                </c:pt>
                <c:pt idx="687">
                  <c:v>2225.7636962775537</c:v>
                </c:pt>
                <c:pt idx="688">
                  <c:v>2521.716255380074</c:v>
                </c:pt>
                <c:pt idx="689">
                  <c:v>3813.86954767207</c:v>
                </c:pt>
                <c:pt idx="690">
                  <c:v>4970.9251618011276</c:v>
                </c:pt>
                <c:pt idx="691">
                  <c:v>4417.9746152921134</c:v>
                </c:pt>
                <c:pt idx="692">
                  <c:v>2698.2167136106391</c:v>
                </c:pt>
                <c:pt idx="693">
                  <c:v>2506.890862648936</c:v>
                </c:pt>
                <c:pt idx="694">
                  <c:v>2603.2831361850131</c:v>
                </c:pt>
                <c:pt idx="695">
                  <c:v>3012.7429150127532</c:v>
                </c:pt>
                <c:pt idx="696">
                  <c:v>4231.9524549495427</c:v>
                </c:pt>
                <c:pt idx="697">
                  <c:v>5414.2994030569453</c:v>
                </c:pt>
                <c:pt idx="698">
                  <c:v>4567.7394681435871</c:v>
                </c:pt>
                <c:pt idx="699">
                  <c:v>2727.8286220499153</c:v>
                </c:pt>
                <c:pt idx="700">
                  <c:v>2733.4283598710381</c:v>
                </c:pt>
                <c:pt idx="701">
                  <c:v>2779.8681526033097</c:v>
                </c:pt>
                <c:pt idx="702">
                  <c:v>3225.715084081713</c:v>
                </c:pt>
                <c:pt idx="703">
                  <c:v>4543.0612194523464</c:v>
                </c:pt>
                <c:pt idx="704">
                  <c:v>5880.3351849622159</c:v>
                </c:pt>
                <c:pt idx="705">
                  <c:v>5127.1037155913364</c:v>
                </c:pt>
                <c:pt idx="706">
                  <c:v>3880.4959576817869</c:v>
                </c:pt>
                <c:pt idx="707">
                  <c:v>4019.8751439030184</c:v>
                </c:pt>
                <c:pt idx="708">
                  <c:v>4769.4271424807084</c:v>
                </c:pt>
                <c:pt idx="709">
                  <c:v>4719.2821424274798</c:v>
                </c:pt>
                <c:pt idx="710">
                  <c:v>7149.5695292860592</c:v>
                </c:pt>
                <c:pt idx="711">
                  <c:v>8321.6169409106005</c:v>
                </c:pt>
                <c:pt idx="712">
                  <c:v>7730.119155310018</c:v>
                </c:pt>
                <c:pt idx="713">
                  <c:v>5322.7078768188039</c:v>
                </c:pt>
                <c:pt idx="714">
                  <c:v>5256.1455912782694</c:v>
                </c:pt>
                <c:pt idx="715">
                  <c:v>5182.8555014421327</c:v>
                </c:pt>
                <c:pt idx="716">
                  <c:v>5700.3365789748641</c:v>
                </c:pt>
                <c:pt idx="717">
                  <c:v>7288.570286212238</c:v>
                </c:pt>
                <c:pt idx="718">
                  <c:v>9328.0079744339328</c:v>
                </c:pt>
                <c:pt idx="719">
                  <c:v>8917.5633633666148</c:v>
                </c:pt>
                <c:pt idx="720">
                  <c:v>6298.2015160706951</c:v>
                </c:pt>
                <c:pt idx="721">
                  <c:v>5078.9552644680725</c:v>
                </c:pt>
                <c:pt idx="722">
                  <c:v>5173.8261584665406</c:v>
                </c:pt>
                <c:pt idx="723">
                  <c:v>5547.1976261488271</c:v>
                </c:pt>
                <c:pt idx="724">
                  <c:v>7021.4343395723918</c:v>
                </c:pt>
                <c:pt idx="725">
                  <c:v>8723.661464183464</c:v>
                </c:pt>
                <c:pt idx="726">
                  <c:v>7592.0733565235405</c:v>
                </c:pt>
                <c:pt idx="727">
                  <c:v>5120.9176679521879</c:v>
                </c:pt>
                <c:pt idx="728">
                  <c:v>5117.1819588526259</c:v>
                </c:pt>
                <c:pt idx="729">
                  <c:v>5305.6034397545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1F8-4EA8-A306-C53798E98F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0725136"/>
        <c:axId val="1140725552"/>
      </c:lineChart>
      <c:dateAx>
        <c:axId val="114072513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552"/>
        <c:crosses val="autoZero"/>
        <c:auto val="1"/>
        <c:lblOffset val="100"/>
        <c:baseTimeUnit val="days"/>
      </c:dateAx>
      <c:valAx>
        <c:axId val="1140725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odel</a:t>
            </a:r>
            <a:r>
              <a:rPr lang="en-US" baseline="0"/>
              <a:t> F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5385862603352055E-2"/>
          <c:y val="0.21800925925925929"/>
          <c:w val="0.93394023272688187"/>
          <c:h val="0.44140930300379122"/>
        </c:manualLayout>
      </c:layout>
      <c:lineChart>
        <c:grouping val="standard"/>
        <c:varyColors val="0"/>
        <c:ser>
          <c:idx val="0"/>
          <c:order val="0"/>
          <c:tx>
            <c:strRef>
              <c:f>'Two months of HoldOut period'!$B$2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Two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Two months of HoldOut period'!$B$3:$B$732</c:f>
              <c:numCache>
                <c:formatCode>#,##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0D8-4415-AA99-D1A42DF8E212}"/>
            </c:ext>
          </c:extLst>
        </c:ser>
        <c:ser>
          <c:idx val="1"/>
          <c:order val="1"/>
          <c:tx>
            <c:strRef>
              <c:f>'Two months of HoldOut period'!$C$2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Two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Two months of HoldOut period'!$C$3:$C$732</c:f>
              <c:numCache>
                <c:formatCode>#,##0</c:formatCode>
                <c:ptCount val="730"/>
                <c:pt idx="0">
                  <c:v>1361.5615028545262</c:v>
                </c:pt>
                <c:pt idx="1">
                  <c:v>1469.1940215032607</c:v>
                </c:pt>
                <c:pt idx="2">
                  <c:v>1708.4628779247198</c:v>
                </c:pt>
                <c:pt idx="3">
                  <c:v>2900.2076092566986</c:v>
                </c:pt>
                <c:pt idx="4">
                  <c:v>3545.9763512510026</c:v>
                </c:pt>
                <c:pt idx="5">
                  <c:v>3390.6503807260515</c:v>
                </c:pt>
                <c:pt idx="6">
                  <c:v>2512.5400382357452</c:v>
                </c:pt>
                <c:pt idx="7">
                  <c:v>2683.6770433542697</c:v>
                </c:pt>
                <c:pt idx="8">
                  <c:v>2757.7467097942249</c:v>
                </c:pt>
                <c:pt idx="9">
                  <c:v>2754.3520930107875</c:v>
                </c:pt>
                <c:pt idx="10">
                  <c:v>3428.8864152649508</c:v>
                </c:pt>
                <c:pt idx="11">
                  <c:v>3761.6057122817979</c:v>
                </c:pt>
                <c:pt idx="12">
                  <c:v>3240.2643266162922</c:v>
                </c:pt>
                <c:pt idx="13">
                  <c:v>2008.4653361438056</c:v>
                </c:pt>
                <c:pt idx="14">
                  <c:v>1906.0681733229885</c:v>
                </c:pt>
                <c:pt idx="15">
                  <c:v>1818.8389393756415</c:v>
                </c:pt>
                <c:pt idx="16">
                  <c:v>1751.1038326236578</c:v>
                </c:pt>
                <c:pt idx="17">
                  <c:v>2635.3691476949757</c:v>
                </c:pt>
                <c:pt idx="18">
                  <c:v>3080.7138111915137</c:v>
                </c:pt>
                <c:pt idx="19">
                  <c:v>2572.8568612950826</c:v>
                </c:pt>
                <c:pt idx="20">
                  <c:v>1618.7598182080822</c:v>
                </c:pt>
                <c:pt idx="21">
                  <c:v>1566.0970091005665</c:v>
                </c:pt>
                <c:pt idx="22">
                  <c:v>1654.115037808077</c:v>
                </c:pt>
                <c:pt idx="23">
                  <c:v>1882.3937090409418</c:v>
                </c:pt>
                <c:pt idx="24">
                  <c:v>3160.9182462811423</c:v>
                </c:pt>
                <c:pt idx="25">
                  <c:v>4036.0424012602898</c:v>
                </c:pt>
                <c:pt idx="26">
                  <c:v>3625.3999839139033</c:v>
                </c:pt>
                <c:pt idx="27">
                  <c:v>2232.6623686967764</c:v>
                </c:pt>
                <c:pt idx="28">
                  <c:v>2231.0047438324245</c:v>
                </c:pt>
                <c:pt idx="29">
                  <c:v>2308.2798518460445</c:v>
                </c:pt>
                <c:pt idx="30">
                  <c:v>2356.3619656137366</c:v>
                </c:pt>
                <c:pt idx="31">
                  <c:v>3514.0910555712057</c:v>
                </c:pt>
                <c:pt idx="32">
                  <c:v>4382.0677897001951</c:v>
                </c:pt>
                <c:pt idx="33">
                  <c:v>3838.4518944908818</c:v>
                </c:pt>
                <c:pt idx="34">
                  <c:v>2181.8489871591446</c:v>
                </c:pt>
                <c:pt idx="35">
                  <c:v>2315.8943922016783</c:v>
                </c:pt>
                <c:pt idx="36">
                  <c:v>2353.0998275293</c:v>
                </c:pt>
                <c:pt idx="37">
                  <c:v>2381.3459494685499</c:v>
                </c:pt>
                <c:pt idx="38">
                  <c:v>3845.1499751564052</c:v>
                </c:pt>
                <c:pt idx="39">
                  <c:v>4744.6992157391687</c:v>
                </c:pt>
                <c:pt idx="40">
                  <c:v>4213.6186704502788</c:v>
                </c:pt>
                <c:pt idx="41">
                  <c:v>2366.6629753592943</c:v>
                </c:pt>
                <c:pt idx="42">
                  <c:v>2539.2087557386803</c:v>
                </c:pt>
                <c:pt idx="43">
                  <c:v>2738.6576479183154</c:v>
                </c:pt>
                <c:pt idx="44">
                  <c:v>3145.233140941958</c:v>
                </c:pt>
                <c:pt idx="45">
                  <c:v>4119.5954122342764</c:v>
                </c:pt>
                <c:pt idx="46">
                  <c:v>5238.4051756006902</c:v>
                </c:pt>
                <c:pt idx="47">
                  <c:v>4606.921152303501</c:v>
                </c:pt>
                <c:pt idx="48">
                  <c:v>2785.9245590334426</c:v>
                </c:pt>
                <c:pt idx="49">
                  <c:v>2835.2795935904219</c:v>
                </c:pt>
                <c:pt idx="50">
                  <c:v>2980.4287676100039</c:v>
                </c:pt>
                <c:pt idx="51">
                  <c:v>3085.2032834938973</c:v>
                </c:pt>
                <c:pt idx="52">
                  <c:v>4466.7018622390369</c:v>
                </c:pt>
                <c:pt idx="53">
                  <c:v>5587.1937450580108</c:v>
                </c:pt>
                <c:pt idx="54">
                  <c:v>4902.9903461834965</c:v>
                </c:pt>
                <c:pt idx="55">
                  <c:v>2971.3604878070055</c:v>
                </c:pt>
                <c:pt idx="56">
                  <c:v>3095.2464867916833</c:v>
                </c:pt>
                <c:pt idx="57">
                  <c:v>3322.4048534459353</c:v>
                </c:pt>
                <c:pt idx="58">
                  <c:v>3667.1120434032773</c:v>
                </c:pt>
                <c:pt idx="59">
                  <c:v>5355.6764574927683</c:v>
                </c:pt>
                <c:pt idx="60">
                  <c:v>6780.9967537113416</c:v>
                </c:pt>
                <c:pt idx="61">
                  <c:v>6286.7998873225015</c:v>
                </c:pt>
                <c:pt idx="62">
                  <c:v>3723.4337650527673</c:v>
                </c:pt>
                <c:pt idx="63">
                  <c:v>3607.4216389825001</c:v>
                </c:pt>
                <c:pt idx="64">
                  <c:v>3935.9541965971566</c:v>
                </c:pt>
                <c:pt idx="65">
                  <c:v>4033.7822001971654</c:v>
                </c:pt>
                <c:pt idx="66">
                  <c:v>5749.3638831265716</c:v>
                </c:pt>
                <c:pt idx="67">
                  <c:v>7193.9500480393726</c:v>
                </c:pt>
                <c:pt idx="68">
                  <c:v>6478.6153816691685</c:v>
                </c:pt>
                <c:pt idx="69">
                  <c:v>3629.7498066208177</c:v>
                </c:pt>
                <c:pt idx="70">
                  <c:v>3709.0218928052122</c:v>
                </c:pt>
                <c:pt idx="71">
                  <c:v>3812.0160995222036</c:v>
                </c:pt>
                <c:pt idx="72">
                  <c:v>3981.4218746098659</c:v>
                </c:pt>
                <c:pt idx="73">
                  <c:v>5629.9206570736296</c:v>
                </c:pt>
                <c:pt idx="74">
                  <c:v>7319.9235629994437</c:v>
                </c:pt>
                <c:pt idx="75">
                  <c:v>7573.0118383725203</c:v>
                </c:pt>
                <c:pt idx="76">
                  <c:v>5635.3860402400487</c:v>
                </c:pt>
                <c:pt idx="77">
                  <c:v>3871.1735709461395</c:v>
                </c:pt>
                <c:pt idx="78">
                  <c:v>3781.0186545801471</c:v>
                </c:pt>
                <c:pt idx="79">
                  <c:v>4196.9366410223111</c:v>
                </c:pt>
                <c:pt idx="80">
                  <c:v>6380.5877191434565</c:v>
                </c:pt>
                <c:pt idx="81">
                  <c:v>8854.1638653664613</c:v>
                </c:pt>
                <c:pt idx="82">
                  <c:v>7762.5536149292784</c:v>
                </c:pt>
                <c:pt idx="83">
                  <c:v>4416.5030033107032</c:v>
                </c:pt>
                <c:pt idx="84">
                  <c:v>4489.1969661867497</c:v>
                </c:pt>
                <c:pt idx="85">
                  <c:v>4586.730458017395</c:v>
                </c:pt>
                <c:pt idx="86">
                  <c:v>4776.2397690213738</c:v>
                </c:pt>
                <c:pt idx="87">
                  <c:v>6611.9397661714538</c:v>
                </c:pt>
                <c:pt idx="88">
                  <c:v>9223.9980409586151</c:v>
                </c:pt>
                <c:pt idx="89">
                  <c:v>7921.1509685236997</c:v>
                </c:pt>
                <c:pt idx="90">
                  <c:v>4188.5425679380342</c:v>
                </c:pt>
                <c:pt idx="91">
                  <c:v>4229.4185392997979</c:v>
                </c:pt>
                <c:pt idx="92">
                  <c:v>4540.4354191291459</c:v>
                </c:pt>
                <c:pt idx="93">
                  <c:v>4939.1481425382317</c:v>
                </c:pt>
                <c:pt idx="94">
                  <c:v>7275.3298096666931</c:v>
                </c:pt>
                <c:pt idx="95">
                  <c:v>10058.724569802514</c:v>
                </c:pt>
                <c:pt idx="96">
                  <c:v>8367.8969709566118</c:v>
                </c:pt>
                <c:pt idx="97">
                  <c:v>4325.6203312874759</c:v>
                </c:pt>
                <c:pt idx="98">
                  <c:v>4419.7499142750567</c:v>
                </c:pt>
                <c:pt idx="99">
                  <c:v>4423.6629633514794</c:v>
                </c:pt>
                <c:pt idx="100">
                  <c:v>4962.1019509575408</c:v>
                </c:pt>
                <c:pt idx="101">
                  <c:v>6535.6422680364503</c:v>
                </c:pt>
                <c:pt idx="102">
                  <c:v>9230.4476287094822</c:v>
                </c:pt>
                <c:pt idx="103">
                  <c:v>7388.3773593570677</c:v>
                </c:pt>
                <c:pt idx="104">
                  <c:v>4095.9892829605042</c:v>
                </c:pt>
                <c:pt idx="105">
                  <c:v>4764.2692157051988</c:v>
                </c:pt>
                <c:pt idx="106">
                  <c:v>4391.4536046309267</c:v>
                </c:pt>
                <c:pt idx="107">
                  <c:v>4692.697659216301</c:v>
                </c:pt>
                <c:pt idx="108">
                  <c:v>6898.8955598205921</c:v>
                </c:pt>
                <c:pt idx="109">
                  <c:v>9581.7733979594905</c:v>
                </c:pt>
                <c:pt idx="110">
                  <c:v>8025.8613995756132</c:v>
                </c:pt>
                <c:pt idx="111">
                  <c:v>4233.9585754969576</c:v>
                </c:pt>
                <c:pt idx="112">
                  <c:v>4612.3711555466289</c:v>
                </c:pt>
                <c:pt idx="113">
                  <c:v>4378.4998068165933</c:v>
                </c:pt>
                <c:pt idx="114">
                  <c:v>4647.9774443021925</c:v>
                </c:pt>
                <c:pt idx="115">
                  <c:v>6366.7372072850621</c:v>
                </c:pt>
                <c:pt idx="116">
                  <c:v>8901.1359928213642</c:v>
                </c:pt>
                <c:pt idx="117">
                  <c:v>7262.4793645143991</c:v>
                </c:pt>
                <c:pt idx="118">
                  <c:v>2987.8471168231772</c:v>
                </c:pt>
                <c:pt idx="119">
                  <c:v>2917.3488845815282</c:v>
                </c:pt>
                <c:pt idx="120">
                  <c:v>2830.2379337821199</c:v>
                </c:pt>
                <c:pt idx="121">
                  <c:v>3030.1905031344641</c:v>
                </c:pt>
                <c:pt idx="122">
                  <c:v>5089.8460145208455</c:v>
                </c:pt>
                <c:pt idx="123">
                  <c:v>7106.2341558464868</c:v>
                </c:pt>
                <c:pt idx="124">
                  <c:v>4952.5339517344255</c:v>
                </c:pt>
                <c:pt idx="125">
                  <c:v>2366.3926857811971</c:v>
                </c:pt>
                <c:pt idx="126">
                  <c:v>2425.59991632935</c:v>
                </c:pt>
                <c:pt idx="127">
                  <c:v>2584.9292963393618</c:v>
                </c:pt>
                <c:pt idx="128">
                  <c:v>2696.9437036683671</c:v>
                </c:pt>
                <c:pt idx="129">
                  <c:v>4289.1199510642355</c:v>
                </c:pt>
                <c:pt idx="130">
                  <c:v>5874.9138652459405</c:v>
                </c:pt>
                <c:pt idx="131">
                  <c:v>4972.7880410843982</c:v>
                </c:pt>
                <c:pt idx="132">
                  <c:v>2563.7784506478752</c:v>
                </c:pt>
                <c:pt idx="133">
                  <c:v>2519.6297953976264</c:v>
                </c:pt>
                <c:pt idx="134">
                  <c:v>2671.1635452934315</c:v>
                </c:pt>
                <c:pt idx="135">
                  <c:v>2920.9679217713719</c:v>
                </c:pt>
                <c:pt idx="136">
                  <c:v>4368.7832468638662</c:v>
                </c:pt>
                <c:pt idx="137">
                  <c:v>6288.6149525724732</c:v>
                </c:pt>
                <c:pt idx="138">
                  <c:v>4980.9519151881277</c:v>
                </c:pt>
                <c:pt idx="139">
                  <c:v>2803.1599123535193</c:v>
                </c:pt>
                <c:pt idx="140">
                  <c:v>3280.9785356227985</c:v>
                </c:pt>
                <c:pt idx="141">
                  <c:v>3644.2013276062698</c:v>
                </c:pt>
                <c:pt idx="142">
                  <c:v>4681.5253094634982</c:v>
                </c:pt>
                <c:pt idx="143">
                  <c:v>6895.4329694109874</c:v>
                </c:pt>
                <c:pt idx="144">
                  <c:v>10390.656112731282</c:v>
                </c:pt>
                <c:pt idx="145">
                  <c:v>7586.7294851652987</c:v>
                </c:pt>
                <c:pt idx="146">
                  <c:v>3166.4745042586005</c:v>
                </c:pt>
                <c:pt idx="147">
                  <c:v>2919.7881375432785</c:v>
                </c:pt>
                <c:pt idx="148">
                  <c:v>2817.9897685748397</c:v>
                </c:pt>
                <c:pt idx="149">
                  <c:v>2842.2277599355048</c:v>
                </c:pt>
                <c:pt idx="150">
                  <c:v>4614.8477604136751</c:v>
                </c:pt>
                <c:pt idx="151">
                  <c:v>6976.5526859749461</c:v>
                </c:pt>
                <c:pt idx="152">
                  <c:v>5380.7815031113096</c:v>
                </c:pt>
                <c:pt idx="153">
                  <c:v>2389.0911022331129</c:v>
                </c:pt>
                <c:pt idx="154">
                  <c:v>2263.1595118411647</c:v>
                </c:pt>
                <c:pt idx="155">
                  <c:v>2675.8512412367827</c:v>
                </c:pt>
                <c:pt idx="156">
                  <c:v>2635.0351848830151</c:v>
                </c:pt>
                <c:pt idx="157">
                  <c:v>4302.6165941301024</c:v>
                </c:pt>
                <c:pt idx="158">
                  <c:v>6023.96489171539</c:v>
                </c:pt>
                <c:pt idx="159">
                  <c:v>5057.576120780368</c:v>
                </c:pt>
                <c:pt idx="160">
                  <c:v>2208.2651490904441</c:v>
                </c:pt>
                <c:pt idx="161">
                  <c:v>2238.6425909091108</c:v>
                </c:pt>
                <c:pt idx="162">
                  <c:v>2332.888661333935</c:v>
                </c:pt>
                <c:pt idx="163">
                  <c:v>2491.2235527147031</c:v>
                </c:pt>
                <c:pt idx="164">
                  <c:v>4242.8047313846146</c:v>
                </c:pt>
                <c:pt idx="165">
                  <c:v>6264.7321005460817</c:v>
                </c:pt>
                <c:pt idx="166">
                  <c:v>5145.9816178052088</c:v>
                </c:pt>
                <c:pt idx="167">
                  <c:v>2613.3706078372161</c:v>
                </c:pt>
                <c:pt idx="168">
                  <c:v>2882.7183067574565</c:v>
                </c:pt>
                <c:pt idx="169">
                  <c:v>3154.9917001884241</c:v>
                </c:pt>
                <c:pt idx="170">
                  <c:v>3304.9340827463816</c:v>
                </c:pt>
                <c:pt idx="171">
                  <c:v>5422.2662523927756</c:v>
                </c:pt>
                <c:pt idx="172">
                  <c:v>7823.7168377550779</c:v>
                </c:pt>
                <c:pt idx="173">
                  <c:v>6810.6210770078842</c:v>
                </c:pt>
                <c:pt idx="174">
                  <c:v>3167.8865462448071</c:v>
                </c:pt>
                <c:pt idx="175">
                  <c:v>3092.6386748369209</c:v>
                </c:pt>
                <c:pt idx="176">
                  <c:v>3344.5188847744448</c:v>
                </c:pt>
                <c:pt idx="177">
                  <c:v>3953.9564059652471</c:v>
                </c:pt>
                <c:pt idx="178">
                  <c:v>6110.9306416710842</c:v>
                </c:pt>
                <c:pt idx="179">
                  <c:v>8218.3139869882034</c:v>
                </c:pt>
                <c:pt idx="180">
                  <c:v>7156.7905563474906</c:v>
                </c:pt>
                <c:pt idx="181">
                  <c:v>3516.1716509324306</c:v>
                </c:pt>
                <c:pt idx="182">
                  <c:v>4368.5593608383888</c:v>
                </c:pt>
                <c:pt idx="183">
                  <c:v>4706.0979939875906</c:v>
                </c:pt>
                <c:pt idx="184">
                  <c:v>5906.9114361526545</c:v>
                </c:pt>
                <c:pt idx="185">
                  <c:v>8452.3976694076791</c:v>
                </c:pt>
                <c:pt idx="186">
                  <c:v>11867.88835050443</c:v>
                </c:pt>
                <c:pt idx="187">
                  <c:v>10226.777716345645</c:v>
                </c:pt>
                <c:pt idx="188">
                  <c:v>4690.6028249820911</c:v>
                </c:pt>
                <c:pt idx="189">
                  <c:v>4682.1599541203923</c:v>
                </c:pt>
                <c:pt idx="190">
                  <c:v>5177.5518147184557</c:v>
                </c:pt>
                <c:pt idx="191">
                  <c:v>5942.3822281737948</c:v>
                </c:pt>
                <c:pt idx="192">
                  <c:v>8556.1665757346527</c:v>
                </c:pt>
                <c:pt idx="193">
                  <c:v>10303.004146204534</c:v>
                </c:pt>
                <c:pt idx="194">
                  <c:v>8424.9315013930227</c:v>
                </c:pt>
                <c:pt idx="195">
                  <c:v>5189.3214093810739</c:v>
                </c:pt>
                <c:pt idx="196">
                  <c:v>5932.6637104552219</c:v>
                </c:pt>
                <c:pt idx="197">
                  <c:v>7731.7930500842904</c:v>
                </c:pt>
                <c:pt idx="198">
                  <c:v>6277.9338586947533</c:v>
                </c:pt>
                <c:pt idx="199">
                  <c:v>5908.1308488357881</c:v>
                </c:pt>
                <c:pt idx="200">
                  <c:v>6802.8319006717384</c:v>
                </c:pt>
                <c:pt idx="201">
                  <c:v>6313.4088264600123</c:v>
                </c:pt>
                <c:pt idx="202">
                  <c:v>4138.5885863982858</c:v>
                </c:pt>
                <c:pt idx="203">
                  <c:v>9381.907919185116</c:v>
                </c:pt>
                <c:pt idx="204">
                  <c:v>8545.031995533931</c:v>
                </c:pt>
                <c:pt idx="205">
                  <c:v>4145.4773329398322</c:v>
                </c:pt>
                <c:pt idx="206">
                  <c:v>5677.4236027243751</c:v>
                </c:pt>
                <c:pt idx="207">
                  <c:v>7426.255705897971</c:v>
                </c:pt>
                <c:pt idx="208">
                  <c:v>6328.8754011515657</c:v>
                </c:pt>
                <c:pt idx="209">
                  <c:v>3393.198807972944</c:v>
                </c:pt>
                <c:pt idx="210">
                  <c:v>3057.2053188534342</c:v>
                </c:pt>
                <c:pt idx="211">
                  <c:v>3088.3509888080339</c:v>
                </c:pt>
                <c:pt idx="212">
                  <c:v>3202.8081529583774</c:v>
                </c:pt>
                <c:pt idx="213">
                  <c:v>4621.0009007109529</c:v>
                </c:pt>
                <c:pt idx="214">
                  <c:v>6691.5641738099248</c:v>
                </c:pt>
                <c:pt idx="215">
                  <c:v>5405.7766314326882</c:v>
                </c:pt>
                <c:pt idx="216">
                  <c:v>2846.7852693593418</c:v>
                </c:pt>
                <c:pt idx="217">
                  <c:v>2900.0146265834046</c:v>
                </c:pt>
                <c:pt idx="218">
                  <c:v>2828.2256503594094</c:v>
                </c:pt>
                <c:pt idx="219">
                  <c:v>2986.1455244547451</c:v>
                </c:pt>
                <c:pt idx="220">
                  <c:v>4679.4618671935214</c:v>
                </c:pt>
                <c:pt idx="221">
                  <c:v>6406.5674045994629</c:v>
                </c:pt>
                <c:pt idx="222">
                  <c:v>5159.6064457289312</c:v>
                </c:pt>
                <c:pt idx="223">
                  <c:v>2453.1532054138952</c:v>
                </c:pt>
                <c:pt idx="224">
                  <c:v>2504.3633697543505</c:v>
                </c:pt>
                <c:pt idx="225">
                  <c:v>2678.9196606054434</c:v>
                </c:pt>
                <c:pt idx="226">
                  <c:v>2877.974868825042</c:v>
                </c:pt>
                <c:pt idx="227">
                  <c:v>4591.8532071975505</c:v>
                </c:pt>
                <c:pt idx="228">
                  <c:v>6781.7598652665993</c:v>
                </c:pt>
                <c:pt idx="229">
                  <c:v>5824.276978465371</c:v>
                </c:pt>
                <c:pt idx="230">
                  <c:v>2797.902613488292</c:v>
                </c:pt>
                <c:pt idx="231">
                  <c:v>2819.8601613714309</c:v>
                </c:pt>
                <c:pt idx="232">
                  <c:v>2932.0048827026135</c:v>
                </c:pt>
                <c:pt idx="233">
                  <c:v>2986.0225777221976</c:v>
                </c:pt>
                <c:pt idx="234">
                  <c:v>4721.9641587439683</c:v>
                </c:pt>
                <c:pt idx="235">
                  <c:v>6881.1586978431988</c:v>
                </c:pt>
                <c:pt idx="236">
                  <c:v>5742.6138375393493</c:v>
                </c:pt>
                <c:pt idx="237">
                  <c:v>2805.579276149268</c:v>
                </c:pt>
                <c:pt idx="238">
                  <c:v>2673.2212364557581</c:v>
                </c:pt>
                <c:pt idx="239">
                  <c:v>2745.2357492857127</c:v>
                </c:pt>
                <c:pt idx="240">
                  <c:v>2874.279330710996</c:v>
                </c:pt>
                <c:pt idx="241">
                  <c:v>4477.9579487764122</c:v>
                </c:pt>
                <c:pt idx="242">
                  <c:v>6687.2270863192762</c:v>
                </c:pt>
                <c:pt idx="243">
                  <c:v>5942.038024729758</c:v>
                </c:pt>
                <c:pt idx="244">
                  <c:v>2766.5602117607159</c:v>
                </c:pt>
                <c:pt idx="245">
                  <c:v>2743.7853359518685</c:v>
                </c:pt>
                <c:pt idx="246">
                  <c:v>2960.7913181904119</c:v>
                </c:pt>
                <c:pt idx="247">
                  <c:v>3275.9425816886974</c:v>
                </c:pt>
                <c:pt idx="248">
                  <c:v>5314.3738246582598</c:v>
                </c:pt>
                <c:pt idx="249">
                  <c:v>8340.0957887554559</c:v>
                </c:pt>
                <c:pt idx="250">
                  <c:v>7081.5663014920374</c:v>
                </c:pt>
                <c:pt idx="251">
                  <c:v>3167.8464300327291</c:v>
                </c:pt>
                <c:pt idx="252">
                  <c:v>2870.84538394834</c:v>
                </c:pt>
                <c:pt idx="253">
                  <c:v>2730.8736476231766</c:v>
                </c:pt>
                <c:pt idx="254">
                  <c:v>3046.4653751304827</c:v>
                </c:pt>
                <c:pt idx="255">
                  <c:v>4628.6082852961872</c:v>
                </c:pt>
                <c:pt idx="256">
                  <c:v>7050.8044646119815</c:v>
                </c:pt>
                <c:pt idx="257">
                  <c:v>5874.6023396686842</c:v>
                </c:pt>
                <c:pt idx="258">
                  <c:v>2834.3427890981966</c:v>
                </c:pt>
                <c:pt idx="259">
                  <c:v>2895.1481913635407</c:v>
                </c:pt>
                <c:pt idx="260">
                  <c:v>3150.231171253261</c:v>
                </c:pt>
                <c:pt idx="261">
                  <c:v>3519.1442135071147</c:v>
                </c:pt>
                <c:pt idx="262">
                  <c:v>5378.2418364527157</c:v>
                </c:pt>
                <c:pt idx="263">
                  <c:v>7905.8157848345299</c:v>
                </c:pt>
                <c:pt idx="264">
                  <c:v>6572.5581051175104</c:v>
                </c:pt>
                <c:pt idx="265">
                  <c:v>3500.8290704748897</c:v>
                </c:pt>
                <c:pt idx="266">
                  <c:v>3439.481876928251</c:v>
                </c:pt>
                <c:pt idx="267">
                  <c:v>3615.923331744772</c:v>
                </c:pt>
                <c:pt idx="268">
                  <c:v>3976.5281107044671</c:v>
                </c:pt>
                <c:pt idx="269">
                  <c:v>5479.758382261929</c:v>
                </c:pt>
                <c:pt idx="270">
                  <c:v>7461.292265457173</c:v>
                </c:pt>
                <c:pt idx="271">
                  <c:v>6202.0635443028996</c:v>
                </c:pt>
                <c:pt idx="272">
                  <c:v>3407.6972601439647</c:v>
                </c:pt>
                <c:pt idx="273">
                  <c:v>3256.4380527711351</c:v>
                </c:pt>
                <c:pt idx="274">
                  <c:v>3297.1375397028537</c:v>
                </c:pt>
                <c:pt idx="275">
                  <c:v>3228.6819018166329</c:v>
                </c:pt>
                <c:pt idx="276">
                  <c:v>4680.7372847531233</c:v>
                </c:pt>
                <c:pt idx="277">
                  <c:v>6062.2781790296585</c:v>
                </c:pt>
                <c:pt idx="278">
                  <c:v>4919.6662551323889</c:v>
                </c:pt>
                <c:pt idx="279">
                  <c:v>2679.6309122070261</c:v>
                </c:pt>
                <c:pt idx="280">
                  <c:v>2331.8084490494493</c:v>
                </c:pt>
                <c:pt idx="281">
                  <c:v>2183.3052640646333</c:v>
                </c:pt>
                <c:pt idx="282">
                  <c:v>2089.7835889047947</c:v>
                </c:pt>
                <c:pt idx="283">
                  <c:v>2058.0976624408927</c:v>
                </c:pt>
                <c:pt idx="284">
                  <c:v>1782.4345358613327</c:v>
                </c:pt>
                <c:pt idx="285">
                  <c:v>1488.4491411252884</c:v>
                </c:pt>
                <c:pt idx="286">
                  <c:v>1212.3003464723033</c:v>
                </c:pt>
                <c:pt idx="287">
                  <c:v>912.72666996697899</c:v>
                </c:pt>
                <c:pt idx="288">
                  <c:v>797.01437345253919</c:v>
                </c:pt>
                <c:pt idx="289">
                  <c:v>711.92873435571448</c:v>
                </c:pt>
                <c:pt idx="290">
                  <c:v>711.49727386556799</c:v>
                </c:pt>
                <c:pt idx="291">
                  <c:v>698.2320307514392</c:v>
                </c:pt>
                <c:pt idx="292">
                  <c:v>603.1264504658991</c:v>
                </c:pt>
                <c:pt idx="293">
                  <c:v>557.67221584060962</c:v>
                </c:pt>
                <c:pt idx="294">
                  <c:v>469.96630001662106</c:v>
                </c:pt>
                <c:pt idx="295">
                  <c:v>463.14484166557878</c:v>
                </c:pt>
                <c:pt idx="296">
                  <c:v>454.20274380826862</c:v>
                </c:pt>
                <c:pt idx="297">
                  <c:v>437.00694718681905</c:v>
                </c:pt>
                <c:pt idx="298">
                  <c:v>454.50162888156103</c:v>
                </c:pt>
                <c:pt idx="299">
                  <c:v>440.51291507795798</c:v>
                </c:pt>
                <c:pt idx="300">
                  <c:v>404.85344393655072</c:v>
                </c:pt>
                <c:pt idx="301">
                  <c:v>392.34272732185548</c:v>
                </c:pt>
                <c:pt idx="302">
                  <c:v>395.71647017783698</c:v>
                </c:pt>
                <c:pt idx="303">
                  <c:v>383.75700793336665</c:v>
                </c:pt>
                <c:pt idx="304">
                  <c:v>364.38173326606022</c:v>
                </c:pt>
                <c:pt idx="305">
                  <c:v>424.0144199348282</c:v>
                </c:pt>
                <c:pt idx="306">
                  <c:v>404.43293863760363</c:v>
                </c:pt>
                <c:pt idx="307">
                  <c:v>341.00235796611236</c:v>
                </c:pt>
                <c:pt idx="308">
                  <c:v>403.6959871955163</c:v>
                </c:pt>
                <c:pt idx="309">
                  <c:v>411.80665714917563</c:v>
                </c:pt>
                <c:pt idx="310">
                  <c:v>410.57738388012854</c:v>
                </c:pt>
                <c:pt idx="311">
                  <c:v>399.00334201261211</c:v>
                </c:pt>
                <c:pt idx="312">
                  <c:v>541.01941914506085</c:v>
                </c:pt>
                <c:pt idx="313">
                  <c:v>425.37873502628736</c:v>
                </c:pt>
                <c:pt idx="314">
                  <c:v>401.74192836471804</c:v>
                </c:pt>
                <c:pt idx="315">
                  <c:v>404.50455010665615</c:v>
                </c:pt>
                <c:pt idx="316">
                  <c:v>434.63250939387586</c:v>
                </c:pt>
                <c:pt idx="317">
                  <c:v>413.88740865193739</c:v>
                </c:pt>
                <c:pt idx="318">
                  <c:v>407.13056504092231</c:v>
                </c:pt>
                <c:pt idx="319">
                  <c:v>471.11422856438105</c:v>
                </c:pt>
                <c:pt idx="320">
                  <c:v>461.21175615803111</c:v>
                </c:pt>
                <c:pt idx="321">
                  <c:v>435.43005491334708</c:v>
                </c:pt>
                <c:pt idx="322">
                  <c:v>452.91973434452467</c:v>
                </c:pt>
                <c:pt idx="323">
                  <c:v>519.1111633640885</c:v>
                </c:pt>
                <c:pt idx="324">
                  <c:v>472.95701804270135</c:v>
                </c:pt>
                <c:pt idx="325">
                  <c:v>529.08254814406155</c:v>
                </c:pt>
                <c:pt idx="326">
                  <c:v>558.38726326260337</c:v>
                </c:pt>
                <c:pt idx="327">
                  <c:v>551.98143767087197</c:v>
                </c:pt>
                <c:pt idx="328">
                  <c:v>452.92166929737135</c:v>
                </c:pt>
                <c:pt idx="329">
                  <c:v>450.19387079441242</c:v>
                </c:pt>
                <c:pt idx="330">
                  <c:v>473.34298180407035</c:v>
                </c:pt>
                <c:pt idx="331">
                  <c:v>473.94640051116397</c:v>
                </c:pt>
                <c:pt idx="332">
                  <c:v>444.41279480637547</c:v>
                </c:pt>
                <c:pt idx="333">
                  <c:v>516.45517145423412</c:v>
                </c:pt>
                <c:pt idx="334">
                  <c:v>528.32619358838792</c:v>
                </c:pt>
                <c:pt idx="335">
                  <c:v>488.79326700092264</c:v>
                </c:pt>
                <c:pt idx="336">
                  <c:v>487.22696707874405</c:v>
                </c:pt>
                <c:pt idx="337">
                  <c:v>500.69553862117903</c:v>
                </c:pt>
                <c:pt idx="338">
                  <c:v>496.6159787693876</c:v>
                </c:pt>
                <c:pt idx="339">
                  <c:v>496.42648261707012</c:v>
                </c:pt>
                <c:pt idx="340">
                  <c:v>547.5637541927523</c:v>
                </c:pt>
                <c:pt idx="341">
                  <c:v>543.22951079362485</c:v>
                </c:pt>
                <c:pt idx="342">
                  <c:v>483.45488590090093</c:v>
                </c:pt>
                <c:pt idx="343">
                  <c:v>484.9204789160238</c:v>
                </c:pt>
                <c:pt idx="344">
                  <c:v>446.41971662853842</c:v>
                </c:pt>
                <c:pt idx="345">
                  <c:v>460.88584532000533</c:v>
                </c:pt>
                <c:pt idx="346">
                  <c:v>445.95016958636461</c:v>
                </c:pt>
                <c:pt idx="347">
                  <c:v>513.44408333165347</c:v>
                </c:pt>
                <c:pt idx="348">
                  <c:v>416.77977488658252</c:v>
                </c:pt>
                <c:pt idx="349">
                  <c:v>359.96754952699297</c:v>
                </c:pt>
                <c:pt idx="350">
                  <c:v>451.31510549947927</c:v>
                </c:pt>
                <c:pt idx="351">
                  <c:v>462.70350870194687</c:v>
                </c:pt>
                <c:pt idx="352">
                  <c:v>537.03489208618157</c:v>
                </c:pt>
                <c:pt idx="353">
                  <c:v>505.83713335307198</c:v>
                </c:pt>
                <c:pt idx="354">
                  <c:v>570.1341797716326</c:v>
                </c:pt>
                <c:pt idx="355">
                  <c:v>555.68530134352727</c:v>
                </c:pt>
                <c:pt idx="356">
                  <c:v>477.49947737876954</c:v>
                </c:pt>
                <c:pt idx="357">
                  <c:v>520.22948808868762</c:v>
                </c:pt>
                <c:pt idx="358">
                  <c:v>547.55086354180696</c:v>
                </c:pt>
                <c:pt idx="359">
                  <c:v>1029.1899786404188</c:v>
                </c:pt>
                <c:pt idx="360">
                  <c:v>588.09228004720251</c:v>
                </c:pt>
                <c:pt idx="361">
                  <c:v>815.89397265058642</c:v>
                </c:pt>
                <c:pt idx="362">
                  <c:v>722.38640981926528</c:v>
                </c:pt>
                <c:pt idx="363">
                  <c:v>601.17853619952837</c:v>
                </c:pt>
                <c:pt idx="364">
                  <c:v>622.29517494660308</c:v>
                </c:pt>
                <c:pt idx="365">
                  <c:v>648.20989686060466</c:v>
                </c:pt>
                <c:pt idx="366">
                  <c:v>829.19125743740994</c:v>
                </c:pt>
                <c:pt idx="367">
                  <c:v>865.16927939018535</c:v>
                </c:pt>
                <c:pt idx="368">
                  <c:v>883.60961351619892</c:v>
                </c:pt>
                <c:pt idx="369">
                  <c:v>776.71857252351117</c:v>
                </c:pt>
                <c:pt idx="370">
                  <c:v>835.61313940036177</c:v>
                </c:pt>
                <c:pt idx="371">
                  <c:v>739.03835307559109</c:v>
                </c:pt>
                <c:pt idx="372">
                  <c:v>753.9427510407204</c:v>
                </c:pt>
                <c:pt idx="373">
                  <c:v>1028.3612718319325</c:v>
                </c:pt>
                <c:pt idx="374">
                  <c:v>1103.6584688967446</c:v>
                </c:pt>
                <c:pt idx="375">
                  <c:v>1287.0653493695543</c:v>
                </c:pt>
                <c:pt idx="376">
                  <c:v>998.78822650670304</c:v>
                </c:pt>
                <c:pt idx="377">
                  <c:v>829.02815188832926</c:v>
                </c:pt>
                <c:pt idx="378">
                  <c:v>844.98290813851622</c:v>
                </c:pt>
                <c:pt idx="379">
                  <c:v>867.98825835680191</c:v>
                </c:pt>
                <c:pt idx="380">
                  <c:v>1177.4922775778653</c:v>
                </c:pt>
                <c:pt idx="381">
                  <c:v>943.35406292757364</c:v>
                </c:pt>
                <c:pt idx="382">
                  <c:v>1252.1358020926725</c:v>
                </c:pt>
                <c:pt idx="383">
                  <c:v>1072.1710990101271</c:v>
                </c:pt>
                <c:pt idx="384">
                  <c:v>869.39928879633487</c:v>
                </c:pt>
                <c:pt idx="385">
                  <c:v>868.58214747480031</c:v>
                </c:pt>
                <c:pt idx="386">
                  <c:v>883.48393671320218</c:v>
                </c:pt>
                <c:pt idx="387">
                  <c:v>1126.1369737831369</c:v>
                </c:pt>
                <c:pt idx="388">
                  <c:v>988.50251163225664</c:v>
                </c:pt>
                <c:pt idx="389">
                  <c:v>1309.2674611391712</c:v>
                </c:pt>
                <c:pt idx="390">
                  <c:v>1132.6906085589587</c:v>
                </c:pt>
                <c:pt idx="391">
                  <c:v>957.1439219782477</c:v>
                </c:pt>
                <c:pt idx="392">
                  <c:v>913.73125184287824</c:v>
                </c:pt>
                <c:pt idx="393">
                  <c:v>962.4877101965169</c:v>
                </c:pt>
                <c:pt idx="394">
                  <c:v>1116.8142276724066</c:v>
                </c:pt>
                <c:pt idx="395">
                  <c:v>2317.6679464764666</c:v>
                </c:pt>
                <c:pt idx="396">
                  <c:v>2672.5285056650137</c:v>
                </c:pt>
                <c:pt idx="397">
                  <c:v>2168.3910635246521</c:v>
                </c:pt>
                <c:pt idx="398">
                  <c:v>1341.2142866702895</c:v>
                </c:pt>
                <c:pt idx="399">
                  <c:v>957.85407217678551</c:v>
                </c:pt>
                <c:pt idx="400">
                  <c:v>963.853330923513</c:v>
                </c:pt>
                <c:pt idx="401">
                  <c:v>1163.4609936559414</c:v>
                </c:pt>
                <c:pt idx="402">
                  <c:v>2187.5047229708575</c:v>
                </c:pt>
                <c:pt idx="403">
                  <c:v>3095.8243514014512</c:v>
                </c:pt>
                <c:pt idx="404">
                  <c:v>2535.7744966032565</c:v>
                </c:pt>
                <c:pt idx="405">
                  <c:v>1195.6981333702377</c:v>
                </c:pt>
                <c:pt idx="406">
                  <c:v>1208.5251421453345</c:v>
                </c:pt>
                <c:pt idx="407">
                  <c:v>1256.4553636814951</c:v>
                </c:pt>
                <c:pt idx="408">
                  <c:v>1485.0464478011074</c:v>
                </c:pt>
                <c:pt idx="409">
                  <c:v>2909.8585730287068</c:v>
                </c:pt>
                <c:pt idx="410">
                  <c:v>3604.7040260063764</c:v>
                </c:pt>
                <c:pt idx="411">
                  <c:v>2977.1503545309683</c:v>
                </c:pt>
                <c:pt idx="412">
                  <c:v>1473.0869572867009</c:v>
                </c:pt>
                <c:pt idx="413">
                  <c:v>1615.419780343339</c:v>
                </c:pt>
                <c:pt idx="414">
                  <c:v>1682.986122125275</c:v>
                </c:pt>
                <c:pt idx="415">
                  <c:v>2058.1537654773974</c:v>
                </c:pt>
                <c:pt idx="416">
                  <c:v>3485.2356679768941</c:v>
                </c:pt>
                <c:pt idx="417">
                  <c:v>4622.7750836160676</c:v>
                </c:pt>
                <c:pt idx="418">
                  <c:v>3805.802678914441</c:v>
                </c:pt>
                <c:pt idx="419">
                  <c:v>2067.4373744031777</c:v>
                </c:pt>
                <c:pt idx="420">
                  <c:v>2123.4263146531002</c:v>
                </c:pt>
                <c:pt idx="421">
                  <c:v>2238.4475629141234</c:v>
                </c:pt>
                <c:pt idx="422">
                  <c:v>2726.0991699457804</c:v>
                </c:pt>
                <c:pt idx="423">
                  <c:v>3676.7155575555898</c:v>
                </c:pt>
                <c:pt idx="424">
                  <c:v>4815.4172180458299</c:v>
                </c:pt>
                <c:pt idx="425">
                  <c:v>4023.1295818917588</c:v>
                </c:pt>
                <c:pt idx="426">
                  <c:v>2258.5130724811002</c:v>
                </c:pt>
                <c:pt idx="427">
                  <c:v>2298.5248167742711</c:v>
                </c:pt>
                <c:pt idx="428">
                  <c:v>2386.3394695461825</c:v>
                </c:pt>
                <c:pt idx="429">
                  <c:v>2578.3342887554377</c:v>
                </c:pt>
                <c:pt idx="430">
                  <c:v>3844.7531393000031</c:v>
                </c:pt>
                <c:pt idx="431">
                  <c:v>4857.9300174299606</c:v>
                </c:pt>
                <c:pt idx="432">
                  <c:v>4039.217672892104</c:v>
                </c:pt>
                <c:pt idx="433">
                  <c:v>2303.6339998748776</c:v>
                </c:pt>
                <c:pt idx="434">
                  <c:v>2301.124563989637</c:v>
                </c:pt>
                <c:pt idx="435">
                  <c:v>2498.9934876434218</c:v>
                </c:pt>
                <c:pt idx="436">
                  <c:v>2568.5424531975309</c:v>
                </c:pt>
                <c:pt idx="437">
                  <c:v>4059.6046500895209</c:v>
                </c:pt>
                <c:pt idx="438">
                  <c:v>5028.8584070924435</c:v>
                </c:pt>
                <c:pt idx="439">
                  <c:v>4220.7817755798151</c:v>
                </c:pt>
                <c:pt idx="440">
                  <c:v>2489.5019256638197</c:v>
                </c:pt>
                <c:pt idx="441">
                  <c:v>2689.5396301440878</c:v>
                </c:pt>
                <c:pt idx="442">
                  <c:v>2765.6646641035654</c:v>
                </c:pt>
                <c:pt idx="443">
                  <c:v>2904.2370224434476</c:v>
                </c:pt>
                <c:pt idx="444">
                  <c:v>4632.410002203289</c:v>
                </c:pt>
                <c:pt idx="445">
                  <c:v>6393.5785636537312</c:v>
                </c:pt>
                <c:pt idx="446">
                  <c:v>5900.1836591980855</c:v>
                </c:pt>
                <c:pt idx="447">
                  <c:v>4067.4220147935034</c:v>
                </c:pt>
                <c:pt idx="448">
                  <c:v>2663.1031251052082</c:v>
                </c:pt>
                <c:pt idx="449">
                  <c:v>2679.5193214853771</c:v>
                </c:pt>
                <c:pt idx="450">
                  <c:v>2911.8764283030546</c:v>
                </c:pt>
                <c:pt idx="451">
                  <c:v>4229.8870194635765</c:v>
                </c:pt>
                <c:pt idx="452">
                  <c:v>5693.8277895981555</c:v>
                </c:pt>
                <c:pt idx="453">
                  <c:v>4743.1850263725901</c:v>
                </c:pt>
                <c:pt idx="454">
                  <c:v>2639.2968163967394</c:v>
                </c:pt>
                <c:pt idx="455">
                  <c:v>2758.1189878618675</c:v>
                </c:pt>
                <c:pt idx="456">
                  <c:v>2881.216868598071</c:v>
                </c:pt>
                <c:pt idx="457">
                  <c:v>3180.0788049717544</c:v>
                </c:pt>
                <c:pt idx="458">
                  <c:v>4562.3478771103555</c:v>
                </c:pt>
                <c:pt idx="459">
                  <c:v>6268.9743452001949</c:v>
                </c:pt>
                <c:pt idx="460">
                  <c:v>5491.738908385013</c:v>
                </c:pt>
                <c:pt idx="461">
                  <c:v>2874.3813013476852</c:v>
                </c:pt>
                <c:pt idx="462">
                  <c:v>2795.8873544046614</c:v>
                </c:pt>
                <c:pt idx="463">
                  <c:v>2747.9936407881232</c:v>
                </c:pt>
                <c:pt idx="464">
                  <c:v>3170.3593088358202</c:v>
                </c:pt>
                <c:pt idx="465">
                  <c:v>4231.6152675593912</c:v>
                </c:pt>
                <c:pt idx="466">
                  <c:v>5289.4017809687348</c:v>
                </c:pt>
                <c:pt idx="467">
                  <c:v>4425.8909803303241</c:v>
                </c:pt>
                <c:pt idx="468">
                  <c:v>2729.075174140075</c:v>
                </c:pt>
                <c:pt idx="469">
                  <c:v>3111.3511298678386</c:v>
                </c:pt>
                <c:pt idx="470">
                  <c:v>3362.8994995258918</c:v>
                </c:pt>
                <c:pt idx="471">
                  <c:v>3829.7593132375819</c:v>
                </c:pt>
                <c:pt idx="472">
                  <c:v>5205.9622853140718</c:v>
                </c:pt>
                <c:pt idx="473">
                  <c:v>7273.0767642470437</c:v>
                </c:pt>
                <c:pt idx="474">
                  <c:v>5872.3249231503059</c:v>
                </c:pt>
                <c:pt idx="475">
                  <c:v>3836.051788522087</c:v>
                </c:pt>
                <c:pt idx="476">
                  <c:v>3789.2675575699018</c:v>
                </c:pt>
                <c:pt idx="477">
                  <c:v>4108.6992350103146</c:v>
                </c:pt>
                <c:pt idx="478">
                  <c:v>4209.7472018814324</c:v>
                </c:pt>
                <c:pt idx="479">
                  <c:v>6191.3248197571147</c:v>
                </c:pt>
                <c:pt idx="480">
                  <c:v>7622.2635785525072</c:v>
                </c:pt>
                <c:pt idx="481">
                  <c:v>6907.0462955756411</c:v>
                </c:pt>
                <c:pt idx="482">
                  <c:v>3974.8373694348011</c:v>
                </c:pt>
                <c:pt idx="483">
                  <c:v>3961.202770602576</c:v>
                </c:pt>
                <c:pt idx="484">
                  <c:v>4349.1644285288467</c:v>
                </c:pt>
                <c:pt idx="485">
                  <c:v>4182.940501302066</c:v>
                </c:pt>
                <c:pt idx="486">
                  <c:v>5656.0526672677806</c:v>
                </c:pt>
                <c:pt idx="487">
                  <c:v>7321.9633487933606</c:v>
                </c:pt>
                <c:pt idx="488">
                  <c:v>6037.891171346484</c:v>
                </c:pt>
                <c:pt idx="489">
                  <c:v>3830.6414309794468</c:v>
                </c:pt>
                <c:pt idx="490">
                  <c:v>3918.4849693668275</c:v>
                </c:pt>
                <c:pt idx="491">
                  <c:v>3993.4590096307256</c:v>
                </c:pt>
                <c:pt idx="492">
                  <c:v>4433.3380634882105</c:v>
                </c:pt>
                <c:pt idx="493">
                  <c:v>5791.2758294324867</c:v>
                </c:pt>
                <c:pt idx="494">
                  <c:v>6816.0003989330744</c:v>
                </c:pt>
                <c:pt idx="495">
                  <c:v>5372.3071688403406</c:v>
                </c:pt>
                <c:pt idx="496">
                  <c:v>3497.1578281587167</c:v>
                </c:pt>
                <c:pt idx="497">
                  <c:v>3373.1612893135812</c:v>
                </c:pt>
                <c:pt idx="498">
                  <c:v>3401.8361190298215</c:v>
                </c:pt>
                <c:pt idx="499">
                  <c:v>3261.9439171594918</c:v>
                </c:pt>
                <c:pt idx="500">
                  <c:v>4191.3594435008818</c:v>
                </c:pt>
                <c:pt idx="501">
                  <c:v>4945.9074512785837</c:v>
                </c:pt>
                <c:pt idx="502">
                  <c:v>4169.35847095178</c:v>
                </c:pt>
                <c:pt idx="503">
                  <c:v>2629.2853252243626</c:v>
                </c:pt>
                <c:pt idx="504">
                  <c:v>2532.8542046739012</c:v>
                </c:pt>
                <c:pt idx="505">
                  <c:v>2547.6098827929941</c:v>
                </c:pt>
                <c:pt idx="506">
                  <c:v>2588.3853828626056</c:v>
                </c:pt>
                <c:pt idx="507">
                  <c:v>4029.0901526953385</c:v>
                </c:pt>
                <c:pt idx="508">
                  <c:v>5022.3793277661753</c:v>
                </c:pt>
                <c:pt idx="509">
                  <c:v>3883.7011800208988</c:v>
                </c:pt>
                <c:pt idx="510">
                  <c:v>1883.7575436696338</c:v>
                </c:pt>
                <c:pt idx="511">
                  <c:v>1747.8245992909074</c:v>
                </c:pt>
                <c:pt idx="512">
                  <c:v>1644.185431869349</c:v>
                </c:pt>
                <c:pt idx="513">
                  <c:v>1407.5593785501205</c:v>
                </c:pt>
                <c:pt idx="514">
                  <c:v>1720.6311594109131</c:v>
                </c:pt>
                <c:pt idx="515">
                  <c:v>1341.4902546609653</c:v>
                </c:pt>
                <c:pt idx="516">
                  <c:v>1178.1384617659533</c:v>
                </c:pt>
                <c:pt idx="517">
                  <c:v>1016.4087980498285</c:v>
                </c:pt>
                <c:pt idx="518">
                  <c:v>1006.2149080128964</c:v>
                </c:pt>
                <c:pt idx="519">
                  <c:v>940.35058920726306</c:v>
                </c:pt>
                <c:pt idx="520">
                  <c:v>956.46540473083792</c:v>
                </c:pt>
                <c:pt idx="521">
                  <c:v>904.4462700018056</c:v>
                </c:pt>
                <c:pt idx="522">
                  <c:v>977.43856955955391</c:v>
                </c:pt>
                <c:pt idx="523">
                  <c:v>1030.3142568160974</c:v>
                </c:pt>
                <c:pt idx="524">
                  <c:v>868.09208218079857</c:v>
                </c:pt>
                <c:pt idx="525">
                  <c:v>778.27573676744089</c:v>
                </c:pt>
                <c:pt idx="526">
                  <c:v>794.82338848240522</c:v>
                </c:pt>
                <c:pt idx="527">
                  <c:v>784.09919172857133</c:v>
                </c:pt>
                <c:pt idx="528">
                  <c:v>775.37662925603581</c:v>
                </c:pt>
                <c:pt idx="529">
                  <c:v>885.1892570781888</c:v>
                </c:pt>
                <c:pt idx="530">
                  <c:v>840.76082020393733</c:v>
                </c:pt>
                <c:pt idx="531">
                  <c:v>722.41503932819296</c:v>
                </c:pt>
                <c:pt idx="532">
                  <c:v>767.86583819531472</c:v>
                </c:pt>
                <c:pt idx="533">
                  <c:v>742.9372660469752</c:v>
                </c:pt>
                <c:pt idx="534">
                  <c:v>767.67009393343187</c:v>
                </c:pt>
                <c:pt idx="535">
                  <c:v>769.64633882910141</c:v>
                </c:pt>
                <c:pt idx="536">
                  <c:v>868.22395728462402</c:v>
                </c:pt>
                <c:pt idx="537">
                  <c:v>829.51635587769431</c:v>
                </c:pt>
                <c:pt idx="538">
                  <c:v>695.70230008816861</c:v>
                </c:pt>
                <c:pt idx="539">
                  <c:v>732.15602017888307</c:v>
                </c:pt>
                <c:pt idx="540">
                  <c:v>859.66119896237615</c:v>
                </c:pt>
                <c:pt idx="541">
                  <c:v>934.51211452712664</c:v>
                </c:pt>
                <c:pt idx="542">
                  <c:v>1088.6647331446413</c:v>
                </c:pt>
                <c:pt idx="543">
                  <c:v>2599.400515629814</c:v>
                </c:pt>
                <c:pt idx="544">
                  <c:v>2214.45762189575</c:v>
                </c:pt>
                <c:pt idx="545">
                  <c:v>936.2535436324066</c:v>
                </c:pt>
                <c:pt idx="546">
                  <c:v>1059.9335378498968</c:v>
                </c:pt>
                <c:pt idx="547">
                  <c:v>1088.3636817742365</c:v>
                </c:pt>
                <c:pt idx="548">
                  <c:v>1683.0871941953353</c:v>
                </c:pt>
                <c:pt idx="549">
                  <c:v>2661.777265106612</c:v>
                </c:pt>
                <c:pt idx="550">
                  <c:v>3563.286023571337</c:v>
                </c:pt>
                <c:pt idx="551">
                  <c:v>2892.6772378326814</c:v>
                </c:pt>
                <c:pt idx="552">
                  <c:v>1556.8973404995329</c:v>
                </c:pt>
                <c:pt idx="553">
                  <c:v>1552.425715470928</c:v>
                </c:pt>
                <c:pt idx="554">
                  <c:v>1346.5164841947744</c:v>
                </c:pt>
                <c:pt idx="555">
                  <c:v>1298.2078723952461</c:v>
                </c:pt>
                <c:pt idx="556">
                  <c:v>2215.3771214984199</c:v>
                </c:pt>
                <c:pt idx="557">
                  <c:v>2700.6276251532408</c:v>
                </c:pt>
                <c:pt idx="558">
                  <c:v>2248.5553627167183</c:v>
                </c:pt>
                <c:pt idx="559">
                  <c:v>1113.2726329237385</c:v>
                </c:pt>
                <c:pt idx="560">
                  <c:v>1131.3857760811652</c:v>
                </c:pt>
                <c:pt idx="561">
                  <c:v>1128.8139018941436</c:v>
                </c:pt>
                <c:pt idx="562">
                  <c:v>1217.694099639489</c:v>
                </c:pt>
                <c:pt idx="563">
                  <c:v>2873.9069841876462</c:v>
                </c:pt>
                <c:pt idx="564">
                  <c:v>3144.6357240870284</c:v>
                </c:pt>
                <c:pt idx="565">
                  <c:v>2280.1888571830486</c:v>
                </c:pt>
                <c:pt idx="566">
                  <c:v>1120.0416482477242</c:v>
                </c:pt>
                <c:pt idx="567">
                  <c:v>1121.5958776559623</c:v>
                </c:pt>
                <c:pt idx="568">
                  <c:v>1140.720227462532</c:v>
                </c:pt>
                <c:pt idx="569">
                  <c:v>2076.0086108338292</c:v>
                </c:pt>
                <c:pt idx="570">
                  <c:v>2224.3117771038014</c:v>
                </c:pt>
                <c:pt idx="571">
                  <c:v>1147.5789074649583</c:v>
                </c:pt>
                <c:pt idx="572">
                  <c:v>1133.8734664546439</c:v>
                </c:pt>
                <c:pt idx="573">
                  <c:v>1013.9686628538916</c:v>
                </c:pt>
                <c:pt idx="574">
                  <c:v>966.53851970562846</c:v>
                </c:pt>
                <c:pt idx="575">
                  <c:v>949.26436621725827</c:v>
                </c:pt>
                <c:pt idx="576">
                  <c:v>939.65707392080049</c:v>
                </c:pt>
                <c:pt idx="577">
                  <c:v>942.86060726819983</c:v>
                </c:pt>
                <c:pt idx="578">
                  <c:v>1023.8271391480168</c:v>
                </c:pt>
                <c:pt idx="579">
                  <c:v>978.1067703657061</c:v>
                </c:pt>
                <c:pt idx="580">
                  <c:v>832.76526741493535</c:v>
                </c:pt>
                <c:pt idx="581">
                  <c:v>765.32804618001171</c:v>
                </c:pt>
                <c:pt idx="582">
                  <c:v>739.57490733594716</c:v>
                </c:pt>
                <c:pt idx="583">
                  <c:v>753.53124554362375</c:v>
                </c:pt>
                <c:pt idx="584">
                  <c:v>769.04100182272566</c:v>
                </c:pt>
                <c:pt idx="585">
                  <c:v>792.09295688771317</c:v>
                </c:pt>
                <c:pt idx="586">
                  <c:v>798.65906420940996</c:v>
                </c:pt>
                <c:pt idx="587">
                  <c:v>677.09816168408088</c:v>
                </c:pt>
                <c:pt idx="588">
                  <c:v>686.23420432428861</c:v>
                </c:pt>
                <c:pt idx="589">
                  <c:v>666.57570658480029</c:v>
                </c:pt>
                <c:pt idx="590">
                  <c:v>684.56122903110588</c:v>
                </c:pt>
                <c:pt idx="591">
                  <c:v>655.06554405921088</c:v>
                </c:pt>
                <c:pt idx="592">
                  <c:v>743.99884542035306</c:v>
                </c:pt>
                <c:pt idx="593">
                  <c:v>684.28456478735711</c:v>
                </c:pt>
                <c:pt idx="594">
                  <c:v>619.2478496703925</c:v>
                </c:pt>
                <c:pt idx="595">
                  <c:v>628.22145343272382</c:v>
                </c:pt>
                <c:pt idx="596">
                  <c:v>648.19012777509954</c:v>
                </c:pt>
                <c:pt idx="597">
                  <c:v>774.15717526021979</c:v>
                </c:pt>
                <c:pt idx="598">
                  <c:v>703.39456674465714</c:v>
                </c:pt>
                <c:pt idx="599">
                  <c:v>811.76447987753409</c:v>
                </c:pt>
                <c:pt idx="600">
                  <c:v>781.59510815442945</c:v>
                </c:pt>
                <c:pt idx="601">
                  <c:v>642.68540275427688</c:v>
                </c:pt>
                <c:pt idx="602">
                  <c:v>682.940237723172</c:v>
                </c:pt>
                <c:pt idx="603">
                  <c:v>700.85868302232041</c:v>
                </c:pt>
                <c:pt idx="604">
                  <c:v>806.83823806089663</c:v>
                </c:pt>
                <c:pt idx="605">
                  <c:v>791.53708790920041</c:v>
                </c:pt>
                <c:pt idx="606">
                  <c:v>927.34023706467804</c:v>
                </c:pt>
                <c:pt idx="607">
                  <c:v>904.704460940481</c:v>
                </c:pt>
                <c:pt idx="608">
                  <c:v>833.89977827576672</c:v>
                </c:pt>
                <c:pt idx="609">
                  <c:v>787.05249091814812</c:v>
                </c:pt>
                <c:pt idx="610">
                  <c:v>794.54682981552264</c:v>
                </c:pt>
                <c:pt idx="611">
                  <c:v>1087.4679532173898</c:v>
                </c:pt>
                <c:pt idx="612">
                  <c:v>877.0953113069188</c:v>
                </c:pt>
                <c:pt idx="613">
                  <c:v>1053.9601248434894</c:v>
                </c:pt>
                <c:pt idx="614">
                  <c:v>898.71465078387155</c:v>
                </c:pt>
                <c:pt idx="615">
                  <c:v>801.56160203169122</c:v>
                </c:pt>
                <c:pt idx="616">
                  <c:v>786.44579767844573</c:v>
                </c:pt>
                <c:pt idx="617">
                  <c:v>817.32357825442409</c:v>
                </c:pt>
                <c:pt idx="618">
                  <c:v>1096.0903179904967</c:v>
                </c:pt>
                <c:pt idx="619">
                  <c:v>905.10019577241803</c:v>
                </c:pt>
                <c:pt idx="620">
                  <c:v>1090.0277868082637</c:v>
                </c:pt>
                <c:pt idx="621">
                  <c:v>905.2784131218051</c:v>
                </c:pt>
                <c:pt idx="622">
                  <c:v>794.39754855906301</c:v>
                </c:pt>
                <c:pt idx="623">
                  <c:v>777.54058165721381</c:v>
                </c:pt>
                <c:pt idx="624">
                  <c:v>773.58482140885837</c:v>
                </c:pt>
                <c:pt idx="625">
                  <c:v>1044.4156542225116</c:v>
                </c:pt>
                <c:pt idx="626">
                  <c:v>838.11901883924043</c:v>
                </c:pt>
                <c:pt idx="627">
                  <c:v>1003.8241779904905</c:v>
                </c:pt>
                <c:pt idx="628">
                  <c:v>848.61679697336649</c:v>
                </c:pt>
                <c:pt idx="629">
                  <c:v>737.99764792240421</c:v>
                </c:pt>
                <c:pt idx="630">
                  <c:v>752.64694623352386</c:v>
                </c:pt>
                <c:pt idx="631">
                  <c:v>822.58439244286228</c:v>
                </c:pt>
                <c:pt idx="632">
                  <c:v>1181.0437581728634</c:v>
                </c:pt>
                <c:pt idx="633">
                  <c:v>953.017168445626</c:v>
                </c:pt>
                <c:pt idx="634">
                  <c:v>1096.5622279893246</c:v>
                </c:pt>
                <c:pt idx="635">
                  <c:v>926.70193475551332</c:v>
                </c:pt>
                <c:pt idx="636">
                  <c:v>804.48372837398165</c:v>
                </c:pt>
                <c:pt idx="637">
                  <c:v>832.09164985721861</c:v>
                </c:pt>
                <c:pt idx="638">
                  <c:v>843.99385275547831</c:v>
                </c:pt>
                <c:pt idx="639">
                  <c:v>1174.3810593939638</c:v>
                </c:pt>
                <c:pt idx="640">
                  <c:v>971.11228829012873</c:v>
                </c:pt>
                <c:pt idx="641">
                  <c:v>1197.882600748042</c:v>
                </c:pt>
                <c:pt idx="642">
                  <c:v>984.71059920830953</c:v>
                </c:pt>
                <c:pt idx="643">
                  <c:v>858.57643483662912</c:v>
                </c:pt>
                <c:pt idx="644">
                  <c:v>886.35528484801034</c:v>
                </c:pt>
                <c:pt idx="645">
                  <c:v>917.66171842812753</c:v>
                </c:pt>
                <c:pt idx="646">
                  <c:v>1146.4374969722946</c:v>
                </c:pt>
                <c:pt idx="647">
                  <c:v>1063.3267987936283</c:v>
                </c:pt>
                <c:pt idx="648">
                  <c:v>1278.2727310879136</c:v>
                </c:pt>
                <c:pt idx="649">
                  <c:v>1090.1711091825948</c:v>
                </c:pt>
                <c:pt idx="650">
                  <c:v>984.49493413919049</c:v>
                </c:pt>
                <c:pt idx="651">
                  <c:v>1017.5568110344701</c:v>
                </c:pt>
                <c:pt idx="652">
                  <c:v>1040.0593638790665</c:v>
                </c:pt>
                <c:pt idx="653">
                  <c:v>1388.2259957493329</c:v>
                </c:pt>
                <c:pt idx="654">
                  <c:v>1232.1096086143393</c:v>
                </c:pt>
                <c:pt idx="655">
                  <c:v>1489.4117000225224</c:v>
                </c:pt>
                <c:pt idx="656">
                  <c:v>1240.6506195300353</c:v>
                </c:pt>
                <c:pt idx="657">
                  <c:v>1109.2840543912548</c:v>
                </c:pt>
                <c:pt idx="658">
                  <c:v>1323.2359089928314</c:v>
                </c:pt>
                <c:pt idx="659">
                  <c:v>1505.8754003045542</c:v>
                </c:pt>
                <c:pt idx="660">
                  <c:v>1873.8529687752082</c:v>
                </c:pt>
                <c:pt idx="661">
                  <c:v>2777.6393233281774</c:v>
                </c:pt>
                <c:pt idx="662">
                  <c:v>3532.6952203069281</c:v>
                </c:pt>
                <c:pt idx="663">
                  <c:v>3178.4278194580652</c:v>
                </c:pt>
                <c:pt idx="664">
                  <c:v>1961.9190175007</c:v>
                </c:pt>
                <c:pt idx="665">
                  <c:v>1840.9741420127302</c:v>
                </c:pt>
                <c:pt idx="666">
                  <c:v>1891.2631449893722</c:v>
                </c:pt>
                <c:pt idx="667">
                  <c:v>2213.6190593623332</c:v>
                </c:pt>
                <c:pt idx="668">
                  <c:v>3115.6628351703312</c:v>
                </c:pt>
                <c:pt idx="669">
                  <c:v>4038.6143573380887</c:v>
                </c:pt>
                <c:pt idx="670">
                  <c:v>3452.5430714115305</c:v>
                </c:pt>
                <c:pt idx="671">
                  <c:v>2394.1480774326824</c:v>
                </c:pt>
                <c:pt idx="672">
                  <c:v>2083.1586085746339</c:v>
                </c:pt>
                <c:pt idx="673">
                  <c:v>1967.6986668851066</c:v>
                </c:pt>
                <c:pt idx="674">
                  <c:v>2228.9606710699381</c:v>
                </c:pt>
                <c:pt idx="675">
                  <c:v>3214.3785181961616</c:v>
                </c:pt>
                <c:pt idx="676">
                  <c:v>4267.5824825666978</c:v>
                </c:pt>
                <c:pt idx="677">
                  <c:v>3298.8502370490382</c:v>
                </c:pt>
                <c:pt idx="678">
                  <c:v>1709.6238431428278</c:v>
                </c:pt>
                <c:pt idx="679">
                  <c:v>1896.8339094968733</c:v>
                </c:pt>
                <c:pt idx="680">
                  <c:v>1928.264774125196</c:v>
                </c:pt>
                <c:pt idx="681">
                  <c:v>2068.9022793685663</c:v>
                </c:pt>
                <c:pt idx="682">
                  <c:v>3308.0867000023518</c:v>
                </c:pt>
                <c:pt idx="683">
                  <c:v>4395.4967008668091</c:v>
                </c:pt>
                <c:pt idx="684">
                  <c:v>3486.2077830704657</c:v>
                </c:pt>
                <c:pt idx="685">
                  <c:v>1995.8076314721807</c:v>
                </c:pt>
                <c:pt idx="686">
                  <c:v>2002.148601196327</c:v>
                </c:pt>
                <c:pt idx="687">
                  <c:v>2018.5645527009212</c:v>
                </c:pt>
                <c:pt idx="688">
                  <c:v>2263.285117511195</c:v>
                </c:pt>
                <c:pt idx="689">
                  <c:v>3423.2796533760838</c:v>
                </c:pt>
                <c:pt idx="690">
                  <c:v>4452.1934294682569</c:v>
                </c:pt>
                <c:pt idx="691">
                  <c:v>3969.7001314918243</c:v>
                </c:pt>
                <c:pt idx="692">
                  <c:v>2507.0319656039151</c:v>
                </c:pt>
                <c:pt idx="693">
                  <c:v>2250.4447561192578</c:v>
                </c:pt>
                <c:pt idx="694">
                  <c:v>2342.5114869546883</c:v>
                </c:pt>
                <c:pt idx="695">
                  <c:v>2683.6949712802798</c:v>
                </c:pt>
                <c:pt idx="696">
                  <c:v>3785.6688968769713</c:v>
                </c:pt>
                <c:pt idx="697">
                  <c:v>4831.3655934837934</c:v>
                </c:pt>
                <c:pt idx="698">
                  <c:v>4089.7296030827538</c:v>
                </c:pt>
                <c:pt idx="699">
                  <c:v>2449.0423885778291</c:v>
                </c:pt>
                <c:pt idx="700">
                  <c:v>2455.045150991803</c:v>
                </c:pt>
                <c:pt idx="701">
                  <c:v>2498.8129913132766</c:v>
                </c:pt>
                <c:pt idx="702">
                  <c:v>2884.4789233095316</c:v>
                </c:pt>
                <c:pt idx="703">
                  <c:v>4064.511485588534</c:v>
                </c:pt>
                <c:pt idx="704">
                  <c:v>5264.7650468666061</c:v>
                </c:pt>
                <c:pt idx="705">
                  <c:v>4596.3071174040897</c:v>
                </c:pt>
                <c:pt idx="706">
                  <c:v>3474.3081232016107</c:v>
                </c:pt>
                <c:pt idx="707">
                  <c:v>3609.4194152509749</c:v>
                </c:pt>
                <c:pt idx="708">
                  <c:v>4260.677278770353</c:v>
                </c:pt>
                <c:pt idx="709">
                  <c:v>4237.2030705258694</c:v>
                </c:pt>
                <c:pt idx="710">
                  <c:v>6391.0085320752942</c:v>
                </c:pt>
                <c:pt idx="711">
                  <c:v>7450.3240022203117</c:v>
                </c:pt>
                <c:pt idx="712">
                  <c:v>6929.0636800403063</c:v>
                </c:pt>
                <c:pt idx="713">
                  <c:v>4765.5123529592547</c:v>
                </c:pt>
                <c:pt idx="714">
                  <c:v>4717.0577692930701</c:v>
                </c:pt>
                <c:pt idx="715">
                  <c:v>4657.1797865243916</c:v>
                </c:pt>
                <c:pt idx="716">
                  <c:v>5095.7187753959934</c:v>
                </c:pt>
                <c:pt idx="717">
                  <c:v>6528.5645274861217</c:v>
                </c:pt>
                <c:pt idx="718">
                  <c:v>8348.50028385109</c:v>
                </c:pt>
                <c:pt idx="719">
                  <c:v>7984.7973784602418</c:v>
                </c:pt>
                <c:pt idx="720">
                  <c:v>5721.774578383789</c:v>
                </c:pt>
                <c:pt idx="721">
                  <c:v>4554.9506038861846</c:v>
                </c:pt>
                <c:pt idx="722">
                  <c:v>4644.92463822846</c:v>
                </c:pt>
                <c:pt idx="723">
                  <c:v>4963.0060699161068</c:v>
                </c:pt>
                <c:pt idx="724">
                  <c:v>6290.9288790076052</c:v>
                </c:pt>
                <c:pt idx="725">
                  <c:v>7800.7828022964259</c:v>
                </c:pt>
                <c:pt idx="726">
                  <c:v>6815.7992412532676</c:v>
                </c:pt>
                <c:pt idx="727">
                  <c:v>4609.536811478506</c:v>
                </c:pt>
                <c:pt idx="728">
                  <c:v>4606.9047321370381</c:v>
                </c:pt>
                <c:pt idx="729">
                  <c:v>4773.43809099908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0D8-4415-AA99-D1A42DF8E2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0725136"/>
        <c:axId val="1140725552"/>
      </c:lineChart>
      <c:dateAx>
        <c:axId val="114072513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552"/>
        <c:crosses val="autoZero"/>
        <c:auto val="1"/>
        <c:lblOffset val="100"/>
        <c:baseTimeUnit val="days"/>
      </c:dateAx>
      <c:valAx>
        <c:axId val="1140725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64856762891239"/>
          <c:y val="0.91165055004843354"/>
          <c:w val="0.21022106485220049"/>
          <c:h val="8.34068560393632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10459942507186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600-4992-8887-3782123DC59E}"/>
              </c:ext>
            </c:extLst>
          </c:dPt>
          <c:dPt>
            <c:idx val="1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600-4992-8887-3782123DC59E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600-4992-8887-3782123DC59E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600-4992-8887-3782123DC59E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600-4992-8887-3782123DC59E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600-4992-8887-3782123DC59E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600-4992-8887-3782123DC59E}"/>
              </c:ext>
            </c:extLst>
          </c:dPt>
          <c:dPt>
            <c:idx val="7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600-4992-8887-3782123DC59E}"/>
              </c:ext>
            </c:extLst>
          </c:dPt>
          <c:dPt>
            <c:idx val="8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600-4992-8887-3782123DC59E}"/>
              </c:ext>
            </c:extLst>
          </c:dPt>
          <c:dPt>
            <c:idx val="9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600-4992-8887-3782123DC59E}"/>
              </c:ext>
            </c:extLst>
          </c:dPt>
          <c:dPt>
            <c:idx val="1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2600-4992-8887-3782123DC59E}"/>
              </c:ext>
            </c:extLst>
          </c:dPt>
          <c:dPt>
            <c:idx val="1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600-4992-8887-3782123DC59E}"/>
              </c:ext>
            </c:extLst>
          </c:dPt>
          <c:dLbls>
            <c:dLbl>
              <c:idx val="0"/>
              <c:layout>
                <c:manualLayout>
                  <c:x val="9.9426673228346432E-2"/>
                  <c:y val="-7.713040649047904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600-4992-8887-3782123DC59E}"/>
                </c:ext>
              </c:extLst>
            </c:dLbl>
            <c:dLbl>
              <c:idx val="1"/>
              <c:layout>
                <c:manualLayout>
                  <c:x val="-0.14589383588080901"/>
                  <c:y val="9.010959370024106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600-4992-8887-3782123DC59E}"/>
                </c:ext>
              </c:extLst>
            </c:dLbl>
            <c:dLbl>
              <c:idx val="2"/>
              <c:layout>
                <c:manualLayout>
                  <c:x val="8.918635170603674E-2"/>
                  <c:y val="-0.139379646391222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600-4992-8887-3782123DC59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600-4992-8887-3782123DC59E}"/>
                </c:ext>
              </c:extLst>
            </c:dLbl>
            <c:dLbl>
              <c:idx val="4"/>
              <c:layout>
                <c:manualLayout>
                  <c:x val="-1.5814613246873553E-3"/>
                  <c:y val="1.2367293401832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600-4992-8887-3782123DC59E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600-4992-8887-3782123DC59E}"/>
                </c:ext>
              </c:extLst>
            </c:dLbl>
            <c:dLbl>
              <c:idx val="6"/>
              <c:layout>
                <c:manualLayout>
                  <c:x val="-6.3942025629149302E-2"/>
                  <c:y val="-4.54990158613319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600-4992-8887-3782123DC59E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600-4992-8887-3782123DC59E}"/>
                </c:ext>
              </c:extLst>
            </c:dLbl>
            <c:dLbl>
              <c:idx val="8"/>
              <c:layout>
                <c:manualLayout>
                  <c:x val="6.1024394009572332E-2"/>
                  <c:y val="3.15650926729633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600-4992-8887-3782123DC59E}"/>
                </c:ext>
              </c:extLst>
            </c:dLbl>
            <c:dLbl>
              <c:idx val="9"/>
              <c:layout>
                <c:manualLayout>
                  <c:x val="-4.035230430754988E-2"/>
                  <c:y val="5.15639165653844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600-4992-8887-3782123DC59E}"/>
                </c:ext>
              </c:extLst>
            </c:dLbl>
            <c:dLbl>
              <c:idx val="10"/>
              <c:layout>
                <c:manualLayout>
                  <c:x val="-0.16916536398023777"/>
                  <c:y val="4.65497930572871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600-4992-8887-3782123DC59E}"/>
                </c:ext>
              </c:extLst>
            </c:dLbl>
            <c:dLbl>
              <c:idx val="11"/>
              <c:layout>
                <c:manualLayout>
                  <c:x val="-0.12370652887139108"/>
                  <c:y val="1.12840483711704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7100DE-41CF-49E5-B6BA-6B703A2B1155}" type="CELLREF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CELLREF]</a:t>
                    </a:fld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, </a:t>
                    </a:r>
                    <a:fld id="{0F72F88F-D1EB-4AFF-BD0D-DD2C5B99FAD6}" type="VALUE">
                      <a:rPr lang="en-US" baseline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>
                    <c15:dlblFTEntry>
                      <c15:txfldGUID>{A07100DE-41CF-49E5-B6BA-6B703A2B1155}</c15:txfldGUID>
                      <c15:f>Sheet1!$F$1</c15:f>
                      <c15:dlblFieldTableCache>
                        <c:ptCount val="1"/>
                        <c:pt idx="0">
                          <c:v>Media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7-2600-4992-8887-3782123DC5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2</c:f>
              <c:strCache>
                <c:ptCount val="11"/>
                <c:pt idx="0">
                  <c:v>Organic</c:v>
                </c:pt>
                <c:pt idx="1">
                  <c:v>Game Updates
 &amp; Events</c:v>
                </c:pt>
                <c:pt idx="2">
                  <c:v>Display Network</c:v>
                </c:pt>
                <c:pt idx="3">
                  <c:v>Facebook ROAS</c:v>
                </c:pt>
                <c:pt idx="4">
                  <c:v>Facebook AEO</c:v>
                </c:pt>
                <c:pt idx="5">
                  <c:v>Facebook MAI</c:v>
                </c:pt>
                <c:pt idx="6">
                  <c:v>YouTube</c:v>
                </c:pt>
                <c:pt idx="7">
                  <c:v>Non Social Display</c:v>
                </c:pt>
                <c:pt idx="8">
                  <c:v>Google Search</c:v>
                </c:pt>
                <c:pt idx="9">
                  <c:v>Apple Search</c:v>
                </c:pt>
                <c:pt idx="10">
                  <c:v>Non Social Video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50118102470534109</c:v>
                </c:pt>
                <c:pt idx="1">
                  <c:v>9.094968096515961E-2</c:v>
                </c:pt>
                <c:pt idx="2">
                  <c:v>0.13861328994548608</c:v>
                </c:pt>
                <c:pt idx="3">
                  <c:v>0.12624690216903406</c:v>
                </c:pt>
                <c:pt idx="4">
                  <c:v>5.0687131085338052E-2</c:v>
                </c:pt>
                <c:pt idx="5">
                  <c:v>1.4570250742393301E-2</c:v>
                </c:pt>
                <c:pt idx="6">
                  <c:v>4.3268344237750056E-2</c:v>
                </c:pt>
                <c:pt idx="7">
                  <c:v>2.5478945155900483E-2</c:v>
                </c:pt>
                <c:pt idx="8">
                  <c:v>3.7559384167955901E-3</c:v>
                </c:pt>
                <c:pt idx="9">
                  <c:v>2.9976894025889977E-3</c:v>
                </c:pt>
                <c:pt idx="10">
                  <c:v>2.25080317421306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2600-4992-8887-3782123DC5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9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853548288301136E-2"/>
          <c:y val="0.11956521739130435"/>
          <c:w val="0.97643343395301974"/>
          <c:h val="0.540880976834417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 Volum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B4-4CE9-B6F9-40EE9B48DDD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F7B4-4CE9-B6F9-40EE9B48DD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B$4:$B$18</c:f>
              <c:numCache>
                <c:formatCode>General</c:formatCode>
                <c:ptCount val="15"/>
                <c:pt idx="0" formatCode="#,##0">
                  <c:v>382727</c:v>
                </c:pt>
                <c:pt idx="14" formatCode="#,##0">
                  <c:v>346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B4-4CE9-B6F9-40EE9B48DDD9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White Space</c:v>
                </c:pt>
              </c:strCache>
            </c:strRef>
          </c:tx>
          <c:spPr>
            <a:noFill/>
          </c:spPr>
          <c:invertIfNegative val="0"/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C$4:$C$18</c:f>
              <c:numCache>
                <c:formatCode>#,##0</c:formatCode>
                <c:ptCount val="15"/>
                <c:pt idx="1">
                  <c:v>382727</c:v>
                </c:pt>
                <c:pt idx="2">
                  <c:v>428577.69459999999</c:v>
                </c:pt>
                <c:pt idx="3">
                  <c:v>448938.77100000001</c:v>
                </c:pt>
                <c:pt idx="4">
                  <c:v>468075.12099999998</c:v>
                </c:pt>
                <c:pt idx="5">
                  <c:v>475538.29749999999</c:v>
                </c:pt>
                <c:pt idx="6">
                  <c:v>481700.2022</c:v>
                </c:pt>
                <c:pt idx="7">
                  <c:v>485910.19919999997</c:v>
                </c:pt>
                <c:pt idx="8">
                  <c:v>486675.65319999994</c:v>
                </c:pt>
                <c:pt idx="9">
                  <c:v>478370.47729999997</c:v>
                </c:pt>
                <c:pt idx="10">
                  <c:v>463444.12429999997</c:v>
                </c:pt>
                <c:pt idx="11">
                  <c:v>440518.77699999994</c:v>
                </c:pt>
                <c:pt idx="12">
                  <c:v>319577.04499999993</c:v>
                </c:pt>
                <c:pt idx="13">
                  <c:v>319577.044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B4-4CE9-B6F9-40EE9B48DDD9}"/>
            </c:ext>
          </c:extLst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Positive Driver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3BF-4422-A598-9E0F05F29A85}"/>
                </c:ext>
              </c:extLst>
            </c:dLbl>
            <c:dLbl>
              <c:idx val="1"/>
              <c:layout>
                <c:manualLayout>
                  <c:x val="0"/>
                  <c:y val="-4.7539940659591468E-2"/>
                </c:manualLayout>
              </c:layout>
              <c:tx>
                <c:rich>
                  <a:bodyPr/>
                  <a:lstStyle/>
                  <a:p>
                    <a:fld id="{32C10FCC-1B9E-4C82-B939-0556F222BC58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3BF-4422-A598-9E0F05F29A8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BE62372-2D63-400C-81AA-AD9EA8B8E19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3BF-4422-A598-9E0F05F29A8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ABBDB54-AE4E-4235-86BA-9F60DF881852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3BF-4422-A598-9E0F05F29A8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11F0F47-FCDD-48C9-88B4-2D1AD96C6D7E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3BF-4422-A598-9E0F05F29A8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C39A5CE-EC04-4D17-9948-A54A79B44E44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3BF-4422-A598-9E0F05F29A8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3E2A3C8-B243-4DDF-B3E0-8710DE4DF85D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3BF-4422-A598-9E0F05F29A8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9C7EAD3-9C12-434C-9995-DBA5C276C482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3BF-4422-A598-9E0F05F29A85}"/>
                </c:ext>
              </c:extLst>
            </c:dLbl>
            <c:dLbl>
              <c:idx val="8"/>
              <c:layout>
                <c:manualLayout>
                  <c:x val="-8.3941411578161102E-17"/>
                  <c:y val="3.6866084674198336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CB1A708E-B737-41F9-9DF5-504593053466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33BF-4422-A598-9E0F05F29A85}"/>
                </c:ext>
              </c:extLst>
            </c:dLbl>
            <c:dLbl>
              <c:idx val="9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7D2FBE7F-ABCC-44F8-9129-0CEBD3992C3F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3BF-4422-A598-9E0F05F29A85}"/>
                </c:ext>
              </c:extLst>
            </c:dLbl>
            <c:dLbl>
              <c:idx val="10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17BA1F23-C30B-47A1-BF70-DE1800E38712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33BF-4422-A598-9E0F05F29A85}"/>
                </c:ext>
              </c:extLst>
            </c:dLbl>
            <c:dLbl>
              <c:idx val="1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45D51489-32F6-4272-B487-4447599A0243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33BF-4422-A598-9E0F05F29A85}"/>
                </c:ext>
              </c:extLst>
            </c:dLbl>
            <c:dLbl>
              <c:idx val="12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1A5C888C-AE21-4F04-B431-CD9ADB7AFFFF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33BF-4422-A598-9E0F05F29A85}"/>
                </c:ext>
              </c:extLst>
            </c:dLbl>
            <c:dLbl>
              <c:idx val="13"/>
              <c:layout>
                <c:manualLayout>
                  <c:x val="-2.2893376711775634E-3"/>
                  <c:y val="-5.9971470957434665E-2"/>
                </c:manualLayout>
              </c:layout>
              <c:tx>
                <c:rich>
                  <a:bodyPr/>
                  <a:lstStyle/>
                  <a:p>
                    <a:fld id="{F2DCA63C-6206-49B3-9441-E52EDC4CDA1B}" type="CELLRANGE">
                      <a:rPr lang="en-US" dirty="0">
                        <a:solidFill>
                          <a:srgbClr val="00B050"/>
                        </a:solidFill>
                      </a:rPr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33BF-4422-A598-9E0F05F29A85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3BF-4422-A598-9E0F05F29A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aseline="0"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D$4:$D$18</c:f>
              <c:numCache>
                <c:formatCode>#,##0</c:formatCode>
                <c:ptCount val="15"/>
                <c:pt idx="1">
                  <c:v>45850.694600000003</c:v>
                </c:pt>
                <c:pt idx="2">
                  <c:v>20361.076399999998</c:v>
                </c:pt>
                <c:pt idx="3">
                  <c:v>19136.350000000002</c:v>
                </c:pt>
                <c:pt idx="4">
                  <c:v>7463.1764999999996</c:v>
                </c:pt>
                <c:pt idx="5">
                  <c:v>6161.9047</c:v>
                </c:pt>
                <c:pt idx="6">
                  <c:v>4209.9969999999994</c:v>
                </c:pt>
                <c:pt idx="7">
                  <c:v>1377.817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7146.95500000000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4:$H$18</c15:f>
                <c15:dlblRangeCache>
                  <c:ptCount val="15"/>
                  <c:pt idx="1">
                    <c:v>12.0%</c:v>
                  </c:pt>
                  <c:pt idx="2">
                    <c:v>5.3%</c:v>
                  </c:pt>
                  <c:pt idx="3">
                    <c:v>5.0%</c:v>
                  </c:pt>
                  <c:pt idx="4">
                    <c:v>2.0%</c:v>
                  </c:pt>
                  <c:pt idx="5">
                    <c:v>1.6%</c:v>
                  </c:pt>
                  <c:pt idx="6">
                    <c:v>1.1%</c:v>
                  </c:pt>
                  <c:pt idx="7">
                    <c:v>0.4%</c:v>
                  </c:pt>
                  <c:pt idx="8">
                    <c:v>-0.2%</c:v>
                  </c:pt>
                  <c:pt idx="9">
                    <c:v>-2.2%</c:v>
                  </c:pt>
                  <c:pt idx="10">
                    <c:v>-3.9%</c:v>
                  </c:pt>
                  <c:pt idx="11">
                    <c:v>-6.0%</c:v>
                  </c:pt>
                  <c:pt idx="12">
                    <c:v>-31.6%</c:v>
                  </c:pt>
                  <c:pt idx="13">
                    <c:v>7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F7B4-4CE9-B6F9-40EE9B48DDD9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Negative Driver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E62-4E7C-8FFD-25024750A074}"/>
              </c:ext>
            </c:extLst>
          </c:dPt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E$4:$E$18</c:f>
              <c:numCache>
                <c:formatCode>General</c:formatCode>
                <c:ptCount val="15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612.36320000000001</c:v>
                </c:pt>
                <c:pt idx="9">
                  <c:v>8305.1759000000002</c:v>
                </c:pt>
                <c:pt idx="10">
                  <c:v>14926.352999999999</c:v>
                </c:pt>
                <c:pt idx="11">
                  <c:v>22925.347300000001</c:v>
                </c:pt>
                <c:pt idx="12">
                  <c:v>120941.732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7B4-4CE9-B6F9-40EE9B48DD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1"/>
        <c:overlap val="100"/>
        <c:axId val="762993392"/>
        <c:axId val="762991760"/>
      </c:barChart>
      <c:catAx>
        <c:axId val="762993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5400000" vert="horz"/>
          <a:lstStyle/>
          <a:p>
            <a:pPr>
              <a:defRPr sz="1400"/>
            </a:pPr>
            <a:endParaRPr lang="en-US"/>
          </a:p>
        </c:txPr>
        <c:crossAx val="762991760"/>
        <c:crosses val="autoZero"/>
        <c:auto val="1"/>
        <c:lblAlgn val="ctr"/>
        <c:lblOffset val="100"/>
        <c:noMultiLvlLbl val="0"/>
      </c:catAx>
      <c:valAx>
        <c:axId val="76299176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762993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853548288301136E-2"/>
          <c:y val="0.11956521739130435"/>
          <c:w val="0.97643343395301974"/>
          <c:h val="0.540880976834417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 Volum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B4-4CE9-B6F9-40EE9B48DDD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F7B4-4CE9-B6F9-40EE9B48DDD9}"/>
              </c:ext>
            </c:extLst>
          </c:dPt>
          <c:dLbls>
            <c:dLbl>
              <c:idx val="0"/>
              <c:layout>
                <c:manualLayout>
                  <c:x val="-1.1446688355887817E-3"/>
                  <c:y val="-0.1086956521739130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vert="horz" wrap="square" lIns="38100" tIns="19050" rIns="38100" bIns="19050" anchor="ctr">
                  <a:spAutoFit/>
                </a:bodyPr>
                <a:lstStyle/>
                <a:p>
                  <a:pPr>
                    <a:defRPr baseline="0">
                      <a:solidFill>
                        <a:schemeClr val="bg1">
                          <a:lumMod val="50000"/>
                        </a:schemeClr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B4-4CE9-B6F9-40EE9B48DD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B$4:$B$18</c:f>
              <c:numCache>
                <c:formatCode>#,##0.00</c:formatCode>
                <c:ptCount val="15"/>
                <c:pt idx="0" formatCode="#,##0">
                  <c:v>31000</c:v>
                </c:pt>
                <c:pt idx="14" formatCode="#,##0">
                  <c:v>244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B4-4CE9-B6F9-40EE9B48DDD9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White Space</c:v>
                </c:pt>
              </c:strCache>
            </c:strRef>
          </c:tx>
          <c:spPr>
            <a:noFill/>
          </c:spPr>
          <c:invertIfNegative val="0"/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C$4:$C$18</c:f>
              <c:numCache>
                <c:formatCode>#,##0</c:formatCode>
                <c:ptCount val="15"/>
                <c:pt idx="1">
                  <c:v>31000</c:v>
                </c:pt>
                <c:pt idx="2">
                  <c:v>100099</c:v>
                </c:pt>
                <c:pt idx="3">
                  <c:v>145948</c:v>
                </c:pt>
                <c:pt idx="4">
                  <c:v>183148</c:v>
                </c:pt>
                <c:pt idx="5">
                  <c:v>203825</c:v>
                </c:pt>
                <c:pt idx="6">
                  <c:v>218085</c:v>
                </c:pt>
                <c:pt idx="7">
                  <c:v>224409</c:v>
                </c:pt>
                <c:pt idx="8">
                  <c:v>229586</c:v>
                </c:pt>
                <c:pt idx="9">
                  <c:v>234577</c:v>
                </c:pt>
                <c:pt idx="10">
                  <c:v>237987</c:v>
                </c:pt>
                <c:pt idx="11">
                  <c:v>241118</c:v>
                </c:pt>
                <c:pt idx="12">
                  <c:v>243164</c:v>
                </c:pt>
                <c:pt idx="13">
                  <c:v>243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B4-4CE9-B6F9-40EE9B48DDD9}"/>
            </c:ext>
          </c:extLst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Positive Driver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3BF-4422-A598-9E0F05F29A85}"/>
                </c:ext>
              </c:extLst>
            </c:dLbl>
            <c:dLbl>
              <c:idx val="1"/>
              <c:layout>
                <c:manualLayout>
                  <c:x val="1.1446688355887817E-3"/>
                  <c:y val="-0.11098824603446308"/>
                </c:manualLayout>
              </c:layout>
              <c:tx>
                <c:rich>
                  <a:bodyPr/>
                  <a:lstStyle/>
                  <a:p>
                    <a:fld id="{22FAADF0-0969-4222-AAF5-A96CE03B2AB1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3BF-4422-A598-9E0F05F29A85}"/>
                </c:ext>
              </c:extLst>
            </c:dLbl>
            <c:dLbl>
              <c:idx val="2"/>
              <c:layout>
                <c:manualLayout>
                  <c:x val="3.4340065067663236E-3"/>
                  <c:y val="-8.1222754764350105E-2"/>
                </c:manualLayout>
              </c:layout>
              <c:tx>
                <c:rich>
                  <a:bodyPr/>
                  <a:lstStyle/>
                  <a:p>
                    <a:fld id="{2175EE9D-D65E-45AA-877D-6D530B44E3A9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33BF-4422-A598-9E0F05F29A85}"/>
                </c:ext>
              </c:extLst>
            </c:dLbl>
            <c:dLbl>
              <c:idx val="3"/>
              <c:layout>
                <c:manualLayout>
                  <c:x val="1.1446688355887817E-3"/>
                  <c:y val="-7.0903800068469705E-2"/>
                </c:manualLayout>
              </c:layout>
              <c:tx>
                <c:rich>
                  <a:bodyPr/>
                  <a:lstStyle/>
                  <a:p>
                    <a:fld id="{424C3CC1-EFF4-4DB1-946E-301605F14B9E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33BF-4422-A598-9E0F05F29A85}"/>
                </c:ext>
              </c:extLst>
            </c:dLbl>
            <c:dLbl>
              <c:idx val="4"/>
              <c:layout>
                <c:manualLayout>
                  <c:x val="3.4340065067663449E-3"/>
                  <c:y val="-5.6813305945452468E-2"/>
                </c:manualLayout>
              </c:layout>
              <c:tx>
                <c:rich>
                  <a:bodyPr/>
                  <a:lstStyle/>
                  <a:p>
                    <a:fld id="{86D43E33-3872-4BA3-942C-5E3F8CD6818C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33BF-4422-A598-9E0F05F29A85}"/>
                </c:ext>
              </c:extLst>
            </c:dLbl>
            <c:dLbl>
              <c:idx val="5"/>
              <c:layout>
                <c:manualLayout>
                  <c:x val="2.289337671177605E-3"/>
                  <c:y val="-5.1728289398607817E-2"/>
                </c:manualLayout>
              </c:layout>
              <c:tx>
                <c:rich>
                  <a:bodyPr/>
                  <a:lstStyle/>
                  <a:p>
                    <a:fld id="{86A629DF-AB34-4628-B960-5D0D90CEF097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33BF-4422-A598-9E0F05F29A8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5D18AC3-BA09-4FA1-92AE-046FD23470FC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3BF-4422-A598-9E0F05F29A8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152AAB8-70F2-4496-BE0F-C85A0CBEC8FD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3BF-4422-A598-9E0F05F29A8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AB3CB89-2A28-4E3E-8306-90D58B6AF123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3BF-4422-A598-9E0F05F29A8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7D2225D-DFF3-4CB0-8D5D-6B55888591DB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3BF-4422-A598-9E0F05F29A8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FD99068-A59F-4D0D-B9C5-263D2F820C7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3BF-4422-A598-9E0F05F29A8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81A0066-FE4F-44F3-8164-DA2E1146A42F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3BF-4422-A598-9E0F05F29A8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FD425EE-DC1D-4244-97DB-777750DAF95F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3BF-4422-A598-9E0F05F29A85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F2DCA63C-6206-49B3-9441-E52EDC4CDA1B}" type="CELLRANGE">
                      <a:rPr lang="en-US" dirty="0">
                        <a:solidFill>
                          <a:srgbClr val="00B050"/>
                        </a:solidFill>
                      </a:rPr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33BF-4422-A598-9E0F05F29A85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3BF-4422-A598-9E0F05F29A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aseline="0"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D$4:$D$18</c:f>
              <c:numCache>
                <c:formatCode>#,##0</c:formatCode>
                <c:ptCount val="15"/>
                <c:pt idx="1">
                  <c:v>69099</c:v>
                </c:pt>
                <c:pt idx="2">
                  <c:v>45849</c:v>
                </c:pt>
                <c:pt idx="3">
                  <c:v>37200</c:v>
                </c:pt>
                <c:pt idx="4">
                  <c:v>20677</c:v>
                </c:pt>
                <c:pt idx="5">
                  <c:v>14260</c:v>
                </c:pt>
                <c:pt idx="6">
                  <c:v>6324</c:v>
                </c:pt>
                <c:pt idx="7">
                  <c:v>5177</c:v>
                </c:pt>
                <c:pt idx="8">
                  <c:v>4991</c:v>
                </c:pt>
                <c:pt idx="9">
                  <c:v>3410</c:v>
                </c:pt>
                <c:pt idx="10">
                  <c:v>3131</c:v>
                </c:pt>
                <c:pt idx="11">
                  <c:v>2046</c:v>
                </c:pt>
                <c:pt idx="12">
                  <c:v>217</c:v>
                </c:pt>
                <c:pt idx="13">
                  <c:v>93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4:$H$18</c15:f>
                <c15:dlblRangeCache>
                  <c:ptCount val="15"/>
                  <c:pt idx="1">
                    <c:v>222.9%</c:v>
                  </c:pt>
                  <c:pt idx="2">
                    <c:v>147.9%</c:v>
                  </c:pt>
                  <c:pt idx="3">
                    <c:v>120.0%</c:v>
                  </c:pt>
                  <c:pt idx="4">
                    <c:v>66.7%</c:v>
                  </c:pt>
                  <c:pt idx="5">
                    <c:v>46.0%</c:v>
                  </c:pt>
                  <c:pt idx="6">
                    <c:v>20.4%</c:v>
                  </c:pt>
                  <c:pt idx="7">
                    <c:v>16.7%</c:v>
                  </c:pt>
                  <c:pt idx="8">
                    <c:v>16.1%</c:v>
                  </c:pt>
                  <c:pt idx="9">
                    <c:v>11.0%</c:v>
                  </c:pt>
                  <c:pt idx="10">
                    <c:v>10.1%</c:v>
                  </c:pt>
                  <c:pt idx="11">
                    <c:v>6.6%</c:v>
                  </c:pt>
                  <c:pt idx="12">
                    <c:v>0.7%</c:v>
                  </c:pt>
                  <c:pt idx="13">
                    <c:v>3.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F7B4-4CE9-B6F9-40EE9B48DDD9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Negative Driver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E62-4E7C-8FFD-25024750A074}"/>
              </c:ext>
            </c:extLst>
          </c:dPt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E$4:$E$18</c:f>
              <c:numCache>
                <c:formatCode>General</c:formatCode>
                <c:ptCount val="15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7B4-4CE9-B6F9-40EE9B48DD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1"/>
        <c:overlap val="100"/>
        <c:axId val="762993392"/>
        <c:axId val="762991760"/>
      </c:barChart>
      <c:catAx>
        <c:axId val="762993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5400000" vert="horz"/>
          <a:lstStyle/>
          <a:p>
            <a:pPr>
              <a:defRPr sz="1400"/>
            </a:pPr>
            <a:endParaRPr lang="en-US"/>
          </a:p>
        </c:txPr>
        <c:crossAx val="762991760"/>
        <c:crosses val="autoZero"/>
        <c:auto val="1"/>
        <c:lblAlgn val="ctr"/>
        <c:lblOffset val="100"/>
        <c:noMultiLvlLbl val="0"/>
      </c:catAx>
      <c:valAx>
        <c:axId val="76299176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762993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effectLst/>
              </a:rPr>
              <a:t>Actual v. Predicted –</a:t>
            </a:r>
            <a:r>
              <a:rPr lang="en-US" sz="1400" baseline="0" dirty="0">
                <a:effectLst/>
              </a:rPr>
              <a:t> (+5 Months)</a:t>
            </a:r>
            <a:endParaRPr lang="en-IN" sz="1400" dirty="0">
              <a:effectLst/>
            </a:endParaRPr>
          </a:p>
        </c:rich>
      </c:tx>
      <c:layout>
        <c:manualLayout>
          <c:xMode val="edge"/>
          <c:yMode val="edge"/>
          <c:x val="0.33753679524236679"/>
          <c:y val="5.34591194968553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797385295192529"/>
          <c:y val="0.1110100897260959"/>
          <c:w val="0.82942356888933189"/>
          <c:h val="0.48404793740405089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Resid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518</c:f>
              <c:numCache>
                <c:formatCode>m/d/yyyy</c:formatCode>
                <c:ptCount val="517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  <c:pt idx="365">
                  <c:v>44135</c:v>
                </c:pt>
                <c:pt idx="366">
                  <c:v>44136</c:v>
                </c:pt>
                <c:pt idx="367">
                  <c:v>44137</c:v>
                </c:pt>
                <c:pt idx="368">
                  <c:v>44138</c:v>
                </c:pt>
                <c:pt idx="369">
                  <c:v>44139</c:v>
                </c:pt>
                <c:pt idx="370">
                  <c:v>44140</c:v>
                </c:pt>
                <c:pt idx="371">
                  <c:v>44141</c:v>
                </c:pt>
                <c:pt idx="372">
                  <c:v>44142</c:v>
                </c:pt>
                <c:pt idx="373">
                  <c:v>44143</c:v>
                </c:pt>
                <c:pt idx="374">
                  <c:v>44144</c:v>
                </c:pt>
                <c:pt idx="375">
                  <c:v>44145</c:v>
                </c:pt>
                <c:pt idx="376">
                  <c:v>44146</c:v>
                </c:pt>
                <c:pt idx="377">
                  <c:v>44147</c:v>
                </c:pt>
                <c:pt idx="378">
                  <c:v>44148</c:v>
                </c:pt>
                <c:pt idx="379">
                  <c:v>44149</c:v>
                </c:pt>
                <c:pt idx="380">
                  <c:v>44150</c:v>
                </c:pt>
                <c:pt idx="381">
                  <c:v>44151</c:v>
                </c:pt>
                <c:pt idx="382">
                  <c:v>44152</c:v>
                </c:pt>
                <c:pt idx="383">
                  <c:v>44153</c:v>
                </c:pt>
                <c:pt idx="384">
                  <c:v>44154</c:v>
                </c:pt>
                <c:pt idx="385">
                  <c:v>44155</c:v>
                </c:pt>
                <c:pt idx="386">
                  <c:v>44156</c:v>
                </c:pt>
                <c:pt idx="387">
                  <c:v>44157</c:v>
                </c:pt>
                <c:pt idx="388">
                  <c:v>44158</c:v>
                </c:pt>
                <c:pt idx="389">
                  <c:v>44159</c:v>
                </c:pt>
                <c:pt idx="390">
                  <c:v>44160</c:v>
                </c:pt>
                <c:pt idx="391">
                  <c:v>44161</c:v>
                </c:pt>
                <c:pt idx="392">
                  <c:v>44162</c:v>
                </c:pt>
                <c:pt idx="393">
                  <c:v>44163</c:v>
                </c:pt>
                <c:pt idx="394">
                  <c:v>44164</c:v>
                </c:pt>
                <c:pt idx="395">
                  <c:v>44165</c:v>
                </c:pt>
                <c:pt idx="396">
                  <c:v>44166</c:v>
                </c:pt>
                <c:pt idx="397">
                  <c:v>44167</c:v>
                </c:pt>
                <c:pt idx="398">
                  <c:v>44168</c:v>
                </c:pt>
                <c:pt idx="399">
                  <c:v>44169</c:v>
                </c:pt>
                <c:pt idx="400">
                  <c:v>44170</c:v>
                </c:pt>
                <c:pt idx="401">
                  <c:v>44171</c:v>
                </c:pt>
                <c:pt idx="402">
                  <c:v>44172</c:v>
                </c:pt>
                <c:pt idx="403">
                  <c:v>44173</c:v>
                </c:pt>
                <c:pt idx="404">
                  <c:v>44174</c:v>
                </c:pt>
                <c:pt idx="405">
                  <c:v>44175</c:v>
                </c:pt>
                <c:pt idx="406">
                  <c:v>44176</c:v>
                </c:pt>
                <c:pt idx="407">
                  <c:v>44177</c:v>
                </c:pt>
                <c:pt idx="408">
                  <c:v>44178</c:v>
                </c:pt>
                <c:pt idx="409">
                  <c:v>44179</c:v>
                </c:pt>
                <c:pt idx="410">
                  <c:v>44180</c:v>
                </c:pt>
                <c:pt idx="411">
                  <c:v>44181</c:v>
                </c:pt>
                <c:pt idx="412">
                  <c:v>44182</c:v>
                </c:pt>
                <c:pt idx="413">
                  <c:v>44183</c:v>
                </c:pt>
                <c:pt idx="414">
                  <c:v>44184</c:v>
                </c:pt>
                <c:pt idx="415">
                  <c:v>44185</c:v>
                </c:pt>
                <c:pt idx="416">
                  <c:v>44186</c:v>
                </c:pt>
                <c:pt idx="417">
                  <c:v>44187</c:v>
                </c:pt>
                <c:pt idx="418">
                  <c:v>44188</c:v>
                </c:pt>
                <c:pt idx="419">
                  <c:v>44189</c:v>
                </c:pt>
                <c:pt idx="420">
                  <c:v>44190</c:v>
                </c:pt>
                <c:pt idx="421">
                  <c:v>44191</c:v>
                </c:pt>
                <c:pt idx="422">
                  <c:v>44192</c:v>
                </c:pt>
                <c:pt idx="423">
                  <c:v>44193</c:v>
                </c:pt>
                <c:pt idx="424">
                  <c:v>44194</c:v>
                </c:pt>
                <c:pt idx="425">
                  <c:v>44195</c:v>
                </c:pt>
                <c:pt idx="426">
                  <c:v>44196</c:v>
                </c:pt>
                <c:pt idx="427">
                  <c:v>44197</c:v>
                </c:pt>
                <c:pt idx="428">
                  <c:v>44198</c:v>
                </c:pt>
                <c:pt idx="429">
                  <c:v>44199</c:v>
                </c:pt>
                <c:pt idx="430">
                  <c:v>44200</c:v>
                </c:pt>
                <c:pt idx="431">
                  <c:v>44201</c:v>
                </c:pt>
                <c:pt idx="432">
                  <c:v>44202</c:v>
                </c:pt>
                <c:pt idx="433">
                  <c:v>44203</c:v>
                </c:pt>
                <c:pt idx="434">
                  <c:v>44204</c:v>
                </c:pt>
                <c:pt idx="435">
                  <c:v>44205</c:v>
                </c:pt>
                <c:pt idx="436">
                  <c:v>44206</c:v>
                </c:pt>
                <c:pt idx="437">
                  <c:v>44207</c:v>
                </c:pt>
                <c:pt idx="438">
                  <c:v>44208</c:v>
                </c:pt>
                <c:pt idx="439">
                  <c:v>44209</c:v>
                </c:pt>
                <c:pt idx="440">
                  <c:v>44210</c:v>
                </c:pt>
                <c:pt idx="441">
                  <c:v>44211</c:v>
                </c:pt>
                <c:pt idx="442">
                  <c:v>44212</c:v>
                </c:pt>
                <c:pt idx="443">
                  <c:v>44213</c:v>
                </c:pt>
                <c:pt idx="444">
                  <c:v>44214</c:v>
                </c:pt>
                <c:pt idx="445">
                  <c:v>44215</c:v>
                </c:pt>
                <c:pt idx="446">
                  <c:v>44216</c:v>
                </c:pt>
                <c:pt idx="447">
                  <c:v>44217</c:v>
                </c:pt>
                <c:pt idx="448">
                  <c:v>44218</c:v>
                </c:pt>
                <c:pt idx="449">
                  <c:v>44219</c:v>
                </c:pt>
                <c:pt idx="450">
                  <c:v>44220</c:v>
                </c:pt>
                <c:pt idx="451">
                  <c:v>44221</c:v>
                </c:pt>
                <c:pt idx="452">
                  <c:v>44222</c:v>
                </c:pt>
                <c:pt idx="453">
                  <c:v>44223</c:v>
                </c:pt>
                <c:pt idx="454">
                  <c:v>44224</c:v>
                </c:pt>
                <c:pt idx="455">
                  <c:v>44225</c:v>
                </c:pt>
                <c:pt idx="456">
                  <c:v>44226</c:v>
                </c:pt>
                <c:pt idx="457">
                  <c:v>44227</c:v>
                </c:pt>
                <c:pt idx="458">
                  <c:v>44228</c:v>
                </c:pt>
                <c:pt idx="459">
                  <c:v>44229</c:v>
                </c:pt>
                <c:pt idx="460">
                  <c:v>44230</c:v>
                </c:pt>
                <c:pt idx="461">
                  <c:v>44231</c:v>
                </c:pt>
                <c:pt idx="462">
                  <c:v>44232</c:v>
                </c:pt>
                <c:pt idx="463">
                  <c:v>44233</c:v>
                </c:pt>
                <c:pt idx="464">
                  <c:v>44234</c:v>
                </c:pt>
                <c:pt idx="465">
                  <c:v>44235</c:v>
                </c:pt>
                <c:pt idx="466">
                  <c:v>44236</c:v>
                </c:pt>
                <c:pt idx="467">
                  <c:v>44237</c:v>
                </c:pt>
                <c:pt idx="468">
                  <c:v>44238</c:v>
                </c:pt>
                <c:pt idx="469">
                  <c:v>44239</c:v>
                </c:pt>
                <c:pt idx="470">
                  <c:v>44240</c:v>
                </c:pt>
                <c:pt idx="471">
                  <c:v>44241</c:v>
                </c:pt>
                <c:pt idx="472">
                  <c:v>44242</c:v>
                </c:pt>
                <c:pt idx="473">
                  <c:v>44243</c:v>
                </c:pt>
                <c:pt idx="474">
                  <c:v>44244</c:v>
                </c:pt>
                <c:pt idx="475">
                  <c:v>44245</c:v>
                </c:pt>
                <c:pt idx="476">
                  <c:v>44246</c:v>
                </c:pt>
                <c:pt idx="477">
                  <c:v>44247</c:v>
                </c:pt>
                <c:pt idx="478">
                  <c:v>44248</c:v>
                </c:pt>
                <c:pt idx="479">
                  <c:v>44249</c:v>
                </c:pt>
                <c:pt idx="480">
                  <c:v>44250</c:v>
                </c:pt>
                <c:pt idx="481">
                  <c:v>44251</c:v>
                </c:pt>
                <c:pt idx="482">
                  <c:v>44252</c:v>
                </c:pt>
                <c:pt idx="483">
                  <c:v>44253</c:v>
                </c:pt>
                <c:pt idx="484">
                  <c:v>44254</c:v>
                </c:pt>
                <c:pt idx="485">
                  <c:v>44255</c:v>
                </c:pt>
                <c:pt idx="486">
                  <c:v>44256</c:v>
                </c:pt>
                <c:pt idx="487">
                  <c:v>44257</c:v>
                </c:pt>
                <c:pt idx="488">
                  <c:v>44258</c:v>
                </c:pt>
                <c:pt idx="489">
                  <c:v>44259</c:v>
                </c:pt>
                <c:pt idx="490">
                  <c:v>44260</c:v>
                </c:pt>
                <c:pt idx="491">
                  <c:v>44261</c:v>
                </c:pt>
                <c:pt idx="492">
                  <c:v>44262</c:v>
                </c:pt>
                <c:pt idx="493">
                  <c:v>44263</c:v>
                </c:pt>
                <c:pt idx="494">
                  <c:v>44264</c:v>
                </c:pt>
                <c:pt idx="495">
                  <c:v>44265</c:v>
                </c:pt>
                <c:pt idx="496">
                  <c:v>44266</c:v>
                </c:pt>
                <c:pt idx="497">
                  <c:v>44267</c:v>
                </c:pt>
                <c:pt idx="498">
                  <c:v>44268</c:v>
                </c:pt>
                <c:pt idx="499">
                  <c:v>44269</c:v>
                </c:pt>
                <c:pt idx="500">
                  <c:v>44270</c:v>
                </c:pt>
                <c:pt idx="501">
                  <c:v>44271</c:v>
                </c:pt>
                <c:pt idx="502">
                  <c:v>44272</c:v>
                </c:pt>
                <c:pt idx="503">
                  <c:v>44273</c:v>
                </c:pt>
                <c:pt idx="504">
                  <c:v>44274</c:v>
                </c:pt>
                <c:pt idx="505">
                  <c:v>44275</c:v>
                </c:pt>
                <c:pt idx="506">
                  <c:v>44276</c:v>
                </c:pt>
                <c:pt idx="507">
                  <c:v>44277</c:v>
                </c:pt>
                <c:pt idx="508">
                  <c:v>44278</c:v>
                </c:pt>
                <c:pt idx="509">
                  <c:v>44279</c:v>
                </c:pt>
                <c:pt idx="510">
                  <c:v>44280</c:v>
                </c:pt>
                <c:pt idx="511">
                  <c:v>44281</c:v>
                </c:pt>
                <c:pt idx="512">
                  <c:v>44282</c:v>
                </c:pt>
                <c:pt idx="513">
                  <c:v>44283</c:v>
                </c:pt>
                <c:pt idx="514">
                  <c:v>44284</c:v>
                </c:pt>
                <c:pt idx="515">
                  <c:v>44285</c:v>
                </c:pt>
                <c:pt idx="516">
                  <c:v>44286</c:v>
                </c:pt>
              </c:numCache>
            </c:numRef>
          </c:cat>
          <c:val>
            <c:numRef>
              <c:f>Sheet1!$D$2:$D$518</c:f>
              <c:numCache>
                <c:formatCode>_(* #,##0_);_(* \(#,##0\);_(* "-"??_);_(@_)</c:formatCode>
                <c:ptCount val="517"/>
                <c:pt idx="0">
                  <c:v>-977.3466843999995</c:v>
                </c:pt>
                <c:pt idx="1">
                  <c:v>1345.1733286999997</c:v>
                </c:pt>
                <c:pt idx="2">
                  <c:v>428.50324499999988</c:v>
                </c:pt>
                <c:pt idx="3">
                  <c:v>-401.34545789999993</c:v>
                </c:pt>
                <c:pt idx="4">
                  <c:v>-2610.2521121999998</c:v>
                </c:pt>
                <c:pt idx="5">
                  <c:v>-2888.2836329000002</c:v>
                </c:pt>
                <c:pt idx="6">
                  <c:v>-562.07546790000015</c:v>
                </c:pt>
                <c:pt idx="7">
                  <c:v>740.93656830000054</c:v>
                </c:pt>
                <c:pt idx="8">
                  <c:v>1578.3824560000003</c:v>
                </c:pt>
                <c:pt idx="9">
                  <c:v>-1974.6093600000004</c:v>
                </c:pt>
                <c:pt idx="10">
                  <c:v>-1910.7825048</c:v>
                </c:pt>
                <c:pt idx="11">
                  <c:v>-2183.0545044</c:v>
                </c:pt>
                <c:pt idx="12">
                  <c:v>-1980.4011692000004</c:v>
                </c:pt>
                <c:pt idx="13">
                  <c:v>-827.18813099999988</c:v>
                </c:pt>
                <c:pt idx="14">
                  <c:v>-1054.4735373000003</c:v>
                </c:pt>
                <c:pt idx="15">
                  <c:v>1348.0902023999997</c:v>
                </c:pt>
                <c:pt idx="16">
                  <c:v>-922.12563399999999</c:v>
                </c:pt>
                <c:pt idx="17">
                  <c:v>389.72420729999976</c:v>
                </c:pt>
                <c:pt idx="18">
                  <c:v>683.13647289999972</c:v>
                </c:pt>
                <c:pt idx="19">
                  <c:v>-988.66207010000016</c:v>
                </c:pt>
                <c:pt idx="20">
                  <c:v>-958.6106934999998</c:v>
                </c:pt>
                <c:pt idx="21">
                  <c:v>-1528.9993635999999</c:v>
                </c:pt>
                <c:pt idx="22">
                  <c:v>-2560.8299469000003</c:v>
                </c:pt>
                <c:pt idx="23">
                  <c:v>-1285.8440165000002</c:v>
                </c:pt>
                <c:pt idx="24">
                  <c:v>-1754.0553313</c:v>
                </c:pt>
                <c:pt idx="25">
                  <c:v>-2529.8156330000002</c:v>
                </c:pt>
                <c:pt idx="26">
                  <c:v>-989.68470859999979</c:v>
                </c:pt>
                <c:pt idx="27">
                  <c:v>-1226.8544194999995</c:v>
                </c:pt>
                <c:pt idx="28">
                  <c:v>-980.07834899999943</c:v>
                </c:pt>
                <c:pt idx="29">
                  <c:v>-373.11989679999988</c:v>
                </c:pt>
                <c:pt idx="30">
                  <c:v>-622.62626040000032</c:v>
                </c:pt>
                <c:pt idx="31">
                  <c:v>-2080.2526226</c:v>
                </c:pt>
                <c:pt idx="32">
                  <c:v>-1889.1025981000003</c:v>
                </c:pt>
                <c:pt idx="33">
                  <c:v>-3403.4414443999999</c:v>
                </c:pt>
                <c:pt idx="34">
                  <c:v>-1247.4257837000005</c:v>
                </c:pt>
                <c:pt idx="35">
                  <c:v>-2709.3656639000001</c:v>
                </c:pt>
                <c:pt idx="36">
                  <c:v>-533.05675390000033</c:v>
                </c:pt>
                <c:pt idx="37">
                  <c:v>-1573.9277471999994</c:v>
                </c:pt>
                <c:pt idx="38">
                  <c:v>-1797.305382</c:v>
                </c:pt>
                <c:pt idx="39">
                  <c:v>-3061.2970314000004</c:v>
                </c:pt>
                <c:pt idx="40">
                  <c:v>-2259.6152353999996</c:v>
                </c:pt>
                <c:pt idx="41">
                  <c:v>-1475.7460052999995</c:v>
                </c:pt>
                <c:pt idx="42">
                  <c:v>-1858.3880489000003</c:v>
                </c:pt>
                <c:pt idx="43">
                  <c:v>497.25711870000032</c:v>
                </c:pt>
                <c:pt idx="44">
                  <c:v>-783.15715189999992</c:v>
                </c:pt>
                <c:pt idx="45">
                  <c:v>-547.33286810000027</c:v>
                </c:pt>
                <c:pt idx="46">
                  <c:v>-1777.0895115000003</c:v>
                </c:pt>
                <c:pt idx="47">
                  <c:v>-436.09003340000072</c:v>
                </c:pt>
                <c:pt idx="48">
                  <c:v>-291.39186130000053</c:v>
                </c:pt>
                <c:pt idx="49">
                  <c:v>-484.24115149999852</c:v>
                </c:pt>
                <c:pt idx="50">
                  <c:v>-1447.3193599000006</c:v>
                </c:pt>
                <c:pt idx="51">
                  <c:v>-2085.5969592000001</c:v>
                </c:pt>
                <c:pt idx="52">
                  <c:v>-1507.2434613000005</c:v>
                </c:pt>
                <c:pt idx="53">
                  <c:v>-1917.8001590999993</c:v>
                </c:pt>
                <c:pt idx="54">
                  <c:v>-565.47284579999996</c:v>
                </c:pt>
                <c:pt idx="55">
                  <c:v>-2145.5251003000003</c:v>
                </c:pt>
                <c:pt idx="56">
                  <c:v>17.619869100000869</c:v>
                </c:pt>
                <c:pt idx="57">
                  <c:v>-2794.7150260999997</c:v>
                </c:pt>
                <c:pt idx="58">
                  <c:v>2004.5608865999993</c:v>
                </c:pt>
                <c:pt idx="59">
                  <c:v>649.70673410000018</c:v>
                </c:pt>
                <c:pt idx="60">
                  <c:v>475.36018019999938</c:v>
                </c:pt>
                <c:pt idx="61">
                  <c:v>415.21761759999936</c:v>
                </c:pt>
                <c:pt idx="62">
                  <c:v>325.48317790000056</c:v>
                </c:pt>
                <c:pt idx="63">
                  <c:v>-722.43534170000021</c:v>
                </c:pt>
                <c:pt idx="64">
                  <c:v>14.713282400000026</c:v>
                </c:pt>
                <c:pt idx="65">
                  <c:v>-1841.8262404999996</c:v>
                </c:pt>
                <c:pt idx="66">
                  <c:v>-1059.1849733999998</c:v>
                </c:pt>
                <c:pt idx="67">
                  <c:v>27.955199800000628</c:v>
                </c:pt>
                <c:pt idx="68">
                  <c:v>841.1422849999999</c:v>
                </c:pt>
                <c:pt idx="69">
                  <c:v>1660.9371351</c:v>
                </c:pt>
                <c:pt idx="70">
                  <c:v>-907.51197639999918</c:v>
                </c:pt>
                <c:pt idx="71">
                  <c:v>-258.10389860000032</c:v>
                </c:pt>
                <c:pt idx="72">
                  <c:v>-2950.2646138999999</c:v>
                </c:pt>
                <c:pt idx="73">
                  <c:v>-1693.4572986000003</c:v>
                </c:pt>
                <c:pt idx="74">
                  <c:v>-2792.8778575999995</c:v>
                </c:pt>
                <c:pt idx="75">
                  <c:v>-2010.8719179</c:v>
                </c:pt>
                <c:pt idx="76">
                  <c:v>820.49985209999977</c:v>
                </c:pt>
                <c:pt idx="77">
                  <c:v>-2852.7114853999992</c:v>
                </c:pt>
                <c:pt idx="78">
                  <c:v>-834.01401710000027</c:v>
                </c:pt>
                <c:pt idx="79">
                  <c:v>-2268.3643124</c:v>
                </c:pt>
                <c:pt idx="80">
                  <c:v>-1693.9967485000002</c:v>
                </c:pt>
                <c:pt idx="81">
                  <c:v>-379.5156563999999</c:v>
                </c:pt>
                <c:pt idx="82">
                  <c:v>-1985.4067229000002</c:v>
                </c:pt>
                <c:pt idx="83">
                  <c:v>1483.1589661999997</c:v>
                </c:pt>
                <c:pt idx="84">
                  <c:v>-945.45695540000088</c:v>
                </c:pt>
                <c:pt idx="85">
                  <c:v>-133.06803790000049</c:v>
                </c:pt>
                <c:pt idx="86">
                  <c:v>-2042.4351760999998</c:v>
                </c:pt>
                <c:pt idx="87">
                  <c:v>-1384.6430960999996</c:v>
                </c:pt>
                <c:pt idx="88">
                  <c:v>-725.47269800000049</c:v>
                </c:pt>
                <c:pt idx="89">
                  <c:v>-1342.3221159000004</c:v>
                </c:pt>
                <c:pt idx="90">
                  <c:v>384.75476429999981</c:v>
                </c:pt>
                <c:pt idx="91">
                  <c:v>-1094.2504325999998</c:v>
                </c:pt>
                <c:pt idx="92">
                  <c:v>109.99134850000064</c:v>
                </c:pt>
                <c:pt idx="93">
                  <c:v>-985.44966920000024</c:v>
                </c:pt>
                <c:pt idx="94">
                  <c:v>49.462658100000226</c:v>
                </c:pt>
                <c:pt idx="95">
                  <c:v>-1997.3252011000004</c:v>
                </c:pt>
                <c:pt idx="96">
                  <c:v>-1508.2654333</c:v>
                </c:pt>
                <c:pt idx="97">
                  <c:v>-330.34324359999937</c:v>
                </c:pt>
                <c:pt idx="98">
                  <c:v>-810.76947990000008</c:v>
                </c:pt>
                <c:pt idx="99">
                  <c:v>-774.39135389999956</c:v>
                </c:pt>
                <c:pt idx="100">
                  <c:v>-1918.3939112000007</c:v>
                </c:pt>
                <c:pt idx="101">
                  <c:v>288.11635819999992</c:v>
                </c:pt>
                <c:pt idx="102">
                  <c:v>-1194.7459193000004</c:v>
                </c:pt>
                <c:pt idx="103">
                  <c:v>301.93789509999988</c:v>
                </c:pt>
                <c:pt idx="104">
                  <c:v>-317.13426700000036</c:v>
                </c:pt>
                <c:pt idx="105">
                  <c:v>498.36276309999994</c:v>
                </c:pt>
                <c:pt idx="106">
                  <c:v>427.83174789999975</c:v>
                </c:pt>
                <c:pt idx="107">
                  <c:v>-1986.4911017999993</c:v>
                </c:pt>
                <c:pt idx="108">
                  <c:v>-1751.9930351000003</c:v>
                </c:pt>
                <c:pt idx="109">
                  <c:v>-2163.0606298000002</c:v>
                </c:pt>
                <c:pt idx="110">
                  <c:v>-1477.9861980000005</c:v>
                </c:pt>
                <c:pt idx="111">
                  <c:v>3134.9844165000004</c:v>
                </c:pt>
                <c:pt idx="112">
                  <c:v>-972.02760839999974</c:v>
                </c:pt>
                <c:pt idx="113">
                  <c:v>-773.14404759999979</c:v>
                </c:pt>
                <c:pt idx="114">
                  <c:v>1079.5647703999994</c:v>
                </c:pt>
                <c:pt idx="115">
                  <c:v>-702.93120590000035</c:v>
                </c:pt>
                <c:pt idx="116">
                  <c:v>903.97307389999969</c:v>
                </c:pt>
                <c:pt idx="117">
                  <c:v>-573.14780980000069</c:v>
                </c:pt>
                <c:pt idx="118">
                  <c:v>-1460.9270147999996</c:v>
                </c:pt>
                <c:pt idx="119">
                  <c:v>-284.58878580000055</c:v>
                </c:pt>
                <c:pt idx="120">
                  <c:v>-2198.0736579999993</c:v>
                </c:pt>
                <c:pt idx="121">
                  <c:v>1507.4355123999994</c:v>
                </c:pt>
                <c:pt idx="122">
                  <c:v>-1459.9120601000004</c:v>
                </c:pt>
                <c:pt idx="123">
                  <c:v>1736.3998195000004</c:v>
                </c:pt>
                <c:pt idx="124">
                  <c:v>-971.08862889999909</c:v>
                </c:pt>
                <c:pt idx="125">
                  <c:v>1308.1152362000012</c:v>
                </c:pt>
                <c:pt idx="126">
                  <c:v>-1316.2155220000004</c:v>
                </c:pt>
                <c:pt idx="127">
                  <c:v>-723.6671065999999</c:v>
                </c:pt>
                <c:pt idx="128">
                  <c:v>-1447.7236361000014</c:v>
                </c:pt>
                <c:pt idx="129">
                  <c:v>-983.92984520000027</c:v>
                </c:pt>
                <c:pt idx="130">
                  <c:v>-2440.8128682999995</c:v>
                </c:pt>
                <c:pt idx="131">
                  <c:v>-2930.522718799999</c:v>
                </c:pt>
                <c:pt idx="132">
                  <c:v>-4819.7268488999998</c:v>
                </c:pt>
                <c:pt idx="133">
                  <c:v>-2980.8730202999996</c:v>
                </c:pt>
                <c:pt idx="134">
                  <c:v>-308.10338149999916</c:v>
                </c:pt>
                <c:pt idx="135">
                  <c:v>-978.44072640000013</c:v>
                </c:pt>
                <c:pt idx="136">
                  <c:v>-663.36482799999976</c:v>
                </c:pt>
                <c:pt idx="137">
                  <c:v>-3791.3352969999996</c:v>
                </c:pt>
                <c:pt idx="138">
                  <c:v>-976.87183039999945</c:v>
                </c:pt>
                <c:pt idx="139">
                  <c:v>-3038.4919472000001</c:v>
                </c:pt>
                <c:pt idx="140">
                  <c:v>-66.939245600002323</c:v>
                </c:pt>
                <c:pt idx="141">
                  <c:v>-1317.1102408999996</c:v>
                </c:pt>
                <c:pt idx="142">
                  <c:v>-3850.3121041000013</c:v>
                </c:pt>
                <c:pt idx="143">
                  <c:v>-982.67953430000034</c:v>
                </c:pt>
                <c:pt idx="144">
                  <c:v>-3254.5066416999998</c:v>
                </c:pt>
                <c:pt idx="145">
                  <c:v>-4181.0570777000003</c:v>
                </c:pt>
                <c:pt idx="146">
                  <c:v>-760.41788400000041</c:v>
                </c:pt>
                <c:pt idx="147">
                  <c:v>-2046.0478656999985</c:v>
                </c:pt>
                <c:pt idx="148">
                  <c:v>1243.096246699999</c:v>
                </c:pt>
                <c:pt idx="149">
                  <c:v>-974.48837670000103</c:v>
                </c:pt>
                <c:pt idx="150">
                  <c:v>323.22105460000057</c:v>
                </c:pt>
                <c:pt idx="151">
                  <c:v>1320.1425846999991</c:v>
                </c:pt>
                <c:pt idx="152">
                  <c:v>-894.85045399999944</c:v>
                </c:pt>
                <c:pt idx="153">
                  <c:v>969.42047479999928</c:v>
                </c:pt>
                <c:pt idx="154">
                  <c:v>-1857.4631745999995</c:v>
                </c:pt>
                <c:pt idx="155">
                  <c:v>-2186.0992205000002</c:v>
                </c:pt>
                <c:pt idx="156">
                  <c:v>-2812.9019346000005</c:v>
                </c:pt>
                <c:pt idx="157">
                  <c:v>-973.24904930000048</c:v>
                </c:pt>
                <c:pt idx="158">
                  <c:v>-217.98914809999951</c:v>
                </c:pt>
                <c:pt idx="159">
                  <c:v>-3562.5816641000001</c:v>
                </c:pt>
                <c:pt idx="160">
                  <c:v>-965.01281369999924</c:v>
                </c:pt>
                <c:pt idx="161">
                  <c:v>1867.1886779000015</c:v>
                </c:pt>
                <c:pt idx="162">
                  <c:v>-3551.7705475999992</c:v>
                </c:pt>
                <c:pt idx="163">
                  <c:v>-978.02933709999888</c:v>
                </c:pt>
                <c:pt idx="164">
                  <c:v>-971.2299507000007</c:v>
                </c:pt>
                <c:pt idx="165">
                  <c:v>1289.3165228999987</c:v>
                </c:pt>
                <c:pt idx="166">
                  <c:v>1722.6209110999989</c:v>
                </c:pt>
                <c:pt idx="167">
                  <c:v>-3472.2782498999986</c:v>
                </c:pt>
                <c:pt idx="168">
                  <c:v>-3025.8599026000011</c:v>
                </c:pt>
                <c:pt idx="169">
                  <c:v>1031.840634799999</c:v>
                </c:pt>
                <c:pt idx="170">
                  <c:v>722.33252790000188</c:v>
                </c:pt>
                <c:pt idx="171">
                  <c:v>991.34813030000078</c:v>
                </c:pt>
                <c:pt idx="172">
                  <c:v>-1580.479813599999</c:v>
                </c:pt>
                <c:pt idx="173">
                  <c:v>1478.4271609000007</c:v>
                </c:pt>
                <c:pt idx="174">
                  <c:v>4307.9065562999986</c:v>
                </c:pt>
                <c:pt idx="175">
                  <c:v>-197.47480110000106</c:v>
                </c:pt>
                <c:pt idx="176">
                  <c:v>-2451.0271227000012</c:v>
                </c:pt>
                <c:pt idx="177">
                  <c:v>2166.0919864000007</c:v>
                </c:pt>
                <c:pt idx="178">
                  <c:v>2126.3538604000005</c:v>
                </c:pt>
                <c:pt idx="179">
                  <c:v>-674.19677419999789</c:v>
                </c:pt>
                <c:pt idx="180">
                  <c:v>-1280.9931092999977</c:v>
                </c:pt>
                <c:pt idx="181">
                  <c:v>9319.1290549999994</c:v>
                </c:pt>
                <c:pt idx="182">
                  <c:v>-928.06417489999876</c:v>
                </c:pt>
                <c:pt idx="183">
                  <c:v>-354.02869279999868</c:v>
                </c:pt>
                <c:pt idx="184">
                  <c:v>-1833.5089952000017</c:v>
                </c:pt>
                <c:pt idx="185">
                  <c:v>324.49177479999707</c:v>
                </c:pt>
                <c:pt idx="186">
                  <c:v>-3757.5742300000002</c:v>
                </c:pt>
                <c:pt idx="187">
                  <c:v>-254.22134389999883</c:v>
                </c:pt>
                <c:pt idx="188">
                  <c:v>954.18663790000028</c:v>
                </c:pt>
                <c:pt idx="189">
                  <c:v>-2253.3023264000003</c:v>
                </c:pt>
                <c:pt idx="190">
                  <c:v>458.56051559999833</c:v>
                </c:pt>
                <c:pt idx="191">
                  <c:v>385.08679470000061</c:v>
                </c:pt>
                <c:pt idx="192">
                  <c:v>-958.0108311999993</c:v>
                </c:pt>
                <c:pt idx="193">
                  <c:v>495.5360200999985</c:v>
                </c:pt>
                <c:pt idx="194">
                  <c:v>-631.80745349999779</c:v>
                </c:pt>
                <c:pt idx="195">
                  <c:v>-1335.8784521999987</c:v>
                </c:pt>
                <c:pt idx="196">
                  <c:v>-1248.7085528999996</c:v>
                </c:pt>
                <c:pt idx="197">
                  <c:v>68.331877199998416</c:v>
                </c:pt>
                <c:pt idx="198">
                  <c:v>-1535.1075184000001</c:v>
                </c:pt>
                <c:pt idx="199">
                  <c:v>-2221.1022722000016</c:v>
                </c:pt>
                <c:pt idx="200">
                  <c:v>-929.96327830000155</c:v>
                </c:pt>
                <c:pt idx="201">
                  <c:v>-1950.7552357999994</c:v>
                </c:pt>
                <c:pt idx="202">
                  <c:v>-950.33807659999729</c:v>
                </c:pt>
                <c:pt idx="203">
                  <c:v>1305.9243277000023</c:v>
                </c:pt>
                <c:pt idx="204">
                  <c:v>-6318.1056361999981</c:v>
                </c:pt>
                <c:pt idx="205">
                  <c:v>-966.70959149999908</c:v>
                </c:pt>
                <c:pt idx="206">
                  <c:v>-6106.1520693999992</c:v>
                </c:pt>
                <c:pt idx="207">
                  <c:v>-956.2995635999996</c:v>
                </c:pt>
                <c:pt idx="208">
                  <c:v>-4570.6157867000002</c:v>
                </c:pt>
                <c:pt idx="209">
                  <c:v>-1460.2853460000006</c:v>
                </c:pt>
                <c:pt idx="210">
                  <c:v>-6953.5407229000011</c:v>
                </c:pt>
                <c:pt idx="211">
                  <c:v>-953.30358680000063</c:v>
                </c:pt>
                <c:pt idx="212">
                  <c:v>-5200.6852856000005</c:v>
                </c:pt>
                <c:pt idx="213">
                  <c:v>-1146.1832351999983</c:v>
                </c:pt>
                <c:pt idx="214">
                  <c:v>-5702.4686281999984</c:v>
                </c:pt>
                <c:pt idx="215">
                  <c:v>-2566.6762150999966</c:v>
                </c:pt>
                <c:pt idx="216">
                  <c:v>-2659.8589429999993</c:v>
                </c:pt>
                <c:pt idx="217">
                  <c:v>-961.97539920000054</c:v>
                </c:pt>
                <c:pt idx="218">
                  <c:v>-1167.3102256999991</c:v>
                </c:pt>
                <c:pt idx="219">
                  <c:v>-6093.0826229000013</c:v>
                </c:pt>
                <c:pt idx="220">
                  <c:v>-782.12424139999894</c:v>
                </c:pt>
                <c:pt idx="221">
                  <c:v>-1735.3447250999998</c:v>
                </c:pt>
                <c:pt idx="222">
                  <c:v>3212.7469273999995</c:v>
                </c:pt>
                <c:pt idx="223">
                  <c:v>436.78617339999983</c:v>
                </c:pt>
                <c:pt idx="224">
                  <c:v>-2998.5476912999984</c:v>
                </c:pt>
                <c:pt idx="225">
                  <c:v>-1239.7680543999995</c:v>
                </c:pt>
                <c:pt idx="226">
                  <c:v>-2311.5366028999997</c:v>
                </c:pt>
                <c:pt idx="227">
                  <c:v>205.92074449999927</c:v>
                </c:pt>
                <c:pt idx="228">
                  <c:v>-947.54751860000033</c:v>
                </c:pt>
                <c:pt idx="229">
                  <c:v>203.22183520000181</c:v>
                </c:pt>
                <c:pt idx="230">
                  <c:v>1780.3324262999995</c:v>
                </c:pt>
                <c:pt idx="231">
                  <c:v>-256.51659629999995</c:v>
                </c:pt>
                <c:pt idx="232">
                  <c:v>-1363.9972385000001</c:v>
                </c:pt>
                <c:pt idx="233">
                  <c:v>-2390.2076921999978</c:v>
                </c:pt>
                <c:pt idx="234">
                  <c:v>-957.20192469999893</c:v>
                </c:pt>
                <c:pt idx="235">
                  <c:v>-209.39395169999989</c:v>
                </c:pt>
                <c:pt idx="236">
                  <c:v>-1560.0388841999993</c:v>
                </c:pt>
                <c:pt idx="237">
                  <c:v>1623.3459546000013</c:v>
                </c:pt>
                <c:pt idx="238">
                  <c:v>273.82705749999877</c:v>
                </c:pt>
                <c:pt idx="239">
                  <c:v>-2100.5578171000016</c:v>
                </c:pt>
                <c:pt idx="240">
                  <c:v>-2811.8383545000033</c:v>
                </c:pt>
                <c:pt idx="241">
                  <c:v>-518.96522040000127</c:v>
                </c:pt>
                <c:pt idx="242">
                  <c:v>-938.45651440000074</c:v>
                </c:pt>
                <c:pt idx="243">
                  <c:v>2869.117940600001</c:v>
                </c:pt>
                <c:pt idx="244">
                  <c:v>4291.443879800001</c:v>
                </c:pt>
                <c:pt idx="245">
                  <c:v>-915.83890059999976</c:v>
                </c:pt>
                <c:pt idx="246">
                  <c:v>-1830.8629906000024</c:v>
                </c:pt>
                <c:pt idx="247">
                  <c:v>-958.79332819999945</c:v>
                </c:pt>
                <c:pt idx="248">
                  <c:v>-945.76239409999835</c:v>
                </c:pt>
                <c:pt idx="249">
                  <c:v>-4771.8013756</c:v>
                </c:pt>
                <c:pt idx="250">
                  <c:v>-4995.1164451999975</c:v>
                </c:pt>
                <c:pt idx="251">
                  <c:v>-2100.1736789999995</c:v>
                </c:pt>
                <c:pt idx="252">
                  <c:v>-1570.8307055000005</c:v>
                </c:pt>
                <c:pt idx="253">
                  <c:v>-1086.0018445999995</c:v>
                </c:pt>
                <c:pt idx="254">
                  <c:v>-1540.062302899998</c:v>
                </c:pt>
                <c:pt idx="255">
                  <c:v>-603.07268929999918</c:v>
                </c:pt>
                <c:pt idx="256">
                  <c:v>-1778.7261574000004</c:v>
                </c:pt>
                <c:pt idx="257">
                  <c:v>-3488.6932930000003</c:v>
                </c:pt>
                <c:pt idx="258">
                  <c:v>-4014.528121899999</c:v>
                </c:pt>
                <c:pt idx="259">
                  <c:v>-3741.2241051000019</c:v>
                </c:pt>
                <c:pt idx="260">
                  <c:v>-3979.5702310999986</c:v>
                </c:pt>
                <c:pt idx="261">
                  <c:v>-6294.0357134000005</c:v>
                </c:pt>
                <c:pt idx="262">
                  <c:v>-944.32276570000249</c:v>
                </c:pt>
                <c:pt idx="263">
                  <c:v>-4862.0597386000009</c:v>
                </c:pt>
                <c:pt idx="264">
                  <c:v>-5959.6269229999998</c:v>
                </c:pt>
                <c:pt idx="265">
                  <c:v>-2371.7303687000021</c:v>
                </c:pt>
                <c:pt idx="266">
                  <c:v>-892.61546930000623</c:v>
                </c:pt>
                <c:pt idx="267">
                  <c:v>-619.31588829999964</c:v>
                </c:pt>
                <c:pt idx="268">
                  <c:v>-2156.2027639000007</c:v>
                </c:pt>
                <c:pt idx="269">
                  <c:v>487.61158849999993</c:v>
                </c:pt>
                <c:pt idx="270">
                  <c:v>-926.01459230000182</c:v>
                </c:pt>
                <c:pt idx="271">
                  <c:v>-3238.5782298000013</c:v>
                </c:pt>
                <c:pt idx="272">
                  <c:v>4910.1590971000005</c:v>
                </c:pt>
                <c:pt idx="273">
                  <c:v>-917.78383029999895</c:v>
                </c:pt>
                <c:pt idx="274">
                  <c:v>-912.78710309999951</c:v>
                </c:pt>
                <c:pt idx="275">
                  <c:v>1908.6375845000002</c:v>
                </c:pt>
                <c:pt idx="276">
                  <c:v>-930.98101800000222</c:v>
                </c:pt>
                <c:pt idx="277">
                  <c:v>2395.6313362000001</c:v>
                </c:pt>
                <c:pt idx="278">
                  <c:v>4056.3582554999994</c:v>
                </c:pt>
                <c:pt idx="279">
                  <c:v>-906.18644599999971</c:v>
                </c:pt>
                <c:pt idx="280">
                  <c:v>-1114.6884634999988</c:v>
                </c:pt>
                <c:pt idx="281">
                  <c:v>-621.81250570000338</c:v>
                </c:pt>
                <c:pt idx="282">
                  <c:v>1132.9293227000016</c:v>
                </c:pt>
                <c:pt idx="283">
                  <c:v>1276.7769892000033</c:v>
                </c:pt>
                <c:pt idx="284">
                  <c:v>-692.60731300000043</c:v>
                </c:pt>
                <c:pt idx="285">
                  <c:v>-2325.503424100003</c:v>
                </c:pt>
                <c:pt idx="286">
                  <c:v>148.77560249999806</c:v>
                </c:pt>
                <c:pt idx="287">
                  <c:v>-893.40256210000371</c:v>
                </c:pt>
                <c:pt idx="288">
                  <c:v>2812.9454366999998</c:v>
                </c:pt>
                <c:pt idx="289">
                  <c:v>310.78568480000104</c:v>
                </c:pt>
                <c:pt idx="290">
                  <c:v>867.66692890000195</c:v>
                </c:pt>
                <c:pt idx="291">
                  <c:v>-928.2802053000014</c:v>
                </c:pt>
                <c:pt idx="292">
                  <c:v>-3849.9595158999982</c:v>
                </c:pt>
                <c:pt idx="293">
                  <c:v>1235.0904226000021</c:v>
                </c:pt>
                <c:pt idx="294">
                  <c:v>-2537.2363449000004</c:v>
                </c:pt>
                <c:pt idx="295">
                  <c:v>172.59543219999978</c:v>
                </c:pt>
                <c:pt idx="296">
                  <c:v>-2163.2607250999972</c:v>
                </c:pt>
                <c:pt idx="297">
                  <c:v>-2376.9107241999991</c:v>
                </c:pt>
                <c:pt idx="298">
                  <c:v>-2364.9914529000016</c:v>
                </c:pt>
                <c:pt idx="299">
                  <c:v>-957.42802120000124</c:v>
                </c:pt>
                <c:pt idx="300">
                  <c:v>-111.22820460000003</c:v>
                </c:pt>
                <c:pt idx="301">
                  <c:v>1742.3238055000002</c:v>
                </c:pt>
                <c:pt idx="302">
                  <c:v>-932.15176340000107</c:v>
                </c:pt>
                <c:pt idx="303">
                  <c:v>-2072.2452154999992</c:v>
                </c:pt>
                <c:pt idx="304">
                  <c:v>-1335.7079975999986</c:v>
                </c:pt>
                <c:pt idx="305">
                  <c:v>-157.34767120000106</c:v>
                </c:pt>
                <c:pt idx="306">
                  <c:v>-1972.6451912999983</c:v>
                </c:pt>
                <c:pt idx="307">
                  <c:v>-1463.3123396999981</c:v>
                </c:pt>
                <c:pt idx="308">
                  <c:v>709.7477069000015</c:v>
                </c:pt>
                <c:pt idx="309">
                  <c:v>858.73102310000104</c:v>
                </c:pt>
                <c:pt idx="310">
                  <c:v>-939.37237989999994</c:v>
                </c:pt>
                <c:pt idx="311">
                  <c:v>-900.65654100000029</c:v>
                </c:pt>
                <c:pt idx="312">
                  <c:v>-6161.9334802000012</c:v>
                </c:pt>
                <c:pt idx="313">
                  <c:v>-955.44660099999965</c:v>
                </c:pt>
                <c:pt idx="314">
                  <c:v>-3121.642975499999</c:v>
                </c:pt>
                <c:pt idx="315">
                  <c:v>1049.1827967000027</c:v>
                </c:pt>
                <c:pt idx="316">
                  <c:v>-4894.4012609999991</c:v>
                </c:pt>
                <c:pt idx="317">
                  <c:v>-953.76048390000142</c:v>
                </c:pt>
                <c:pt idx="318">
                  <c:v>-3693.064263799999</c:v>
                </c:pt>
                <c:pt idx="319">
                  <c:v>-1969.243308699999</c:v>
                </c:pt>
                <c:pt idx="320">
                  <c:v>-2024.485028799998</c:v>
                </c:pt>
                <c:pt idx="321">
                  <c:v>-1476.5622804000013</c:v>
                </c:pt>
                <c:pt idx="322">
                  <c:v>-836.19366439999794</c:v>
                </c:pt>
                <c:pt idx="323">
                  <c:v>2986.4638871999996</c:v>
                </c:pt>
                <c:pt idx="324">
                  <c:v>-1818.7348403999968</c:v>
                </c:pt>
                <c:pt idx="325">
                  <c:v>-1236.6932488999992</c:v>
                </c:pt>
                <c:pt idx="326">
                  <c:v>-1388.3105055999986</c:v>
                </c:pt>
                <c:pt idx="327">
                  <c:v>-2242.9909743999997</c:v>
                </c:pt>
                <c:pt idx="328">
                  <c:v>-1000.6901466000018</c:v>
                </c:pt>
                <c:pt idx="329">
                  <c:v>-1079.5875979999983</c:v>
                </c:pt>
                <c:pt idx="330">
                  <c:v>-609.30719850000241</c:v>
                </c:pt>
                <c:pt idx="331">
                  <c:v>-954.16781099999935</c:v>
                </c:pt>
                <c:pt idx="332">
                  <c:v>-3381.2625727000013</c:v>
                </c:pt>
                <c:pt idx="333">
                  <c:v>-952.92884259999846</c:v>
                </c:pt>
                <c:pt idx="334">
                  <c:v>-3608.9169335000006</c:v>
                </c:pt>
                <c:pt idx="335">
                  <c:v>2813.9294477999974</c:v>
                </c:pt>
                <c:pt idx="336">
                  <c:v>1880.2861159000022</c:v>
                </c:pt>
                <c:pt idx="337">
                  <c:v>-2687.5593866999989</c:v>
                </c:pt>
                <c:pt idx="338">
                  <c:v>-422.32010699999955</c:v>
                </c:pt>
                <c:pt idx="339">
                  <c:v>-948.31551339999714</c:v>
                </c:pt>
                <c:pt idx="340">
                  <c:v>-5530.4954069000014</c:v>
                </c:pt>
                <c:pt idx="341">
                  <c:v>-948.36503399999856</c:v>
                </c:pt>
                <c:pt idx="342">
                  <c:v>205.2409903000007</c:v>
                </c:pt>
                <c:pt idx="343">
                  <c:v>-1215.7549583999971</c:v>
                </c:pt>
                <c:pt idx="344">
                  <c:v>2610.1349513999994</c:v>
                </c:pt>
                <c:pt idx="345">
                  <c:v>-1836.8984905999969</c:v>
                </c:pt>
                <c:pt idx="346">
                  <c:v>-950.72740820000035</c:v>
                </c:pt>
                <c:pt idx="347">
                  <c:v>-4832.5165750000015</c:v>
                </c:pt>
                <c:pt idx="348">
                  <c:v>-1158.6254902000001</c:v>
                </c:pt>
                <c:pt idx="349">
                  <c:v>3107.8379884000024</c:v>
                </c:pt>
                <c:pt idx="350">
                  <c:v>1307.4238148999975</c:v>
                </c:pt>
                <c:pt idx="351">
                  <c:v>4293.2292600000001</c:v>
                </c:pt>
                <c:pt idx="352">
                  <c:v>-897.17436820000148</c:v>
                </c:pt>
                <c:pt idx="353">
                  <c:v>-949.16867150000326</c:v>
                </c:pt>
                <c:pt idx="354">
                  <c:v>-871.88121759999922</c:v>
                </c:pt>
                <c:pt idx="355">
                  <c:v>-948.02511069999673</c:v>
                </c:pt>
                <c:pt idx="356">
                  <c:v>-462.28984559999662</c:v>
                </c:pt>
                <c:pt idx="357">
                  <c:v>871.37958950000029</c:v>
                </c:pt>
                <c:pt idx="358">
                  <c:v>6183.9082750999987</c:v>
                </c:pt>
                <c:pt idx="359">
                  <c:v>1241.7344082000018</c:v>
                </c:pt>
                <c:pt idx="360">
                  <c:v>-944.57018660000176</c:v>
                </c:pt>
                <c:pt idx="361">
                  <c:v>-997.59063070000047</c:v>
                </c:pt>
                <c:pt idx="362">
                  <c:v>-3830.3097415000011</c:v>
                </c:pt>
                <c:pt idx="363">
                  <c:v>493.40922859999773</c:v>
                </c:pt>
                <c:pt idx="364">
                  <c:v>2657.4636223999987</c:v>
                </c:pt>
                <c:pt idx="365">
                  <c:v>5452.6172699999988</c:v>
                </c:pt>
                <c:pt idx="366">
                  <c:v>3541.4259302999999</c:v>
                </c:pt>
                <c:pt idx="367">
                  <c:v>1018.5017658999968</c:v>
                </c:pt>
                <c:pt idx="368">
                  <c:v>6294.6377541000002</c:v>
                </c:pt>
                <c:pt idx="369">
                  <c:v>-2067.8432983000021</c:v>
                </c:pt>
                <c:pt idx="370">
                  <c:v>1979.7896207000013</c:v>
                </c:pt>
                <c:pt idx="371">
                  <c:v>7762.8934760000011</c:v>
                </c:pt>
                <c:pt idx="372">
                  <c:v>4084.9334294</c:v>
                </c:pt>
                <c:pt idx="373">
                  <c:v>886.68247049999991</c:v>
                </c:pt>
                <c:pt idx="374">
                  <c:v>-3995.1915171000001</c:v>
                </c:pt>
                <c:pt idx="375">
                  <c:v>618.60166870000103</c:v>
                </c:pt>
                <c:pt idx="376">
                  <c:v>-3891.1251188000024</c:v>
                </c:pt>
                <c:pt idx="377">
                  <c:v>-2685.8070690999994</c:v>
                </c:pt>
                <c:pt idx="378">
                  <c:v>3638.8742334000017</c:v>
                </c:pt>
                <c:pt idx="379">
                  <c:v>-3185.5373124000034</c:v>
                </c:pt>
                <c:pt idx="380">
                  <c:v>-692.2897292000016</c:v>
                </c:pt>
                <c:pt idx="381">
                  <c:v>-1586.2167145999992</c:v>
                </c:pt>
                <c:pt idx="382">
                  <c:v>-4207.8167866000003</c:v>
                </c:pt>
                <c:pt idx="383">
                  <c:v>-1562.5523584000002</c:v>
                </c:pt>
                <c:pt idx="384">
                  <c:v>971.20448680000118</c:v>
                </c:pt>
                <c:pt idx="385">
                  <c:v>2505.9475305000014</c:v>
                </c:pt>
                <c:pt idx="386">
                  <c:v>4060.3523981000035</c:v>
                </c:pt>
                <c:pt idx="387">
                  <c:v>1577.859109099998</c:v>
                </c:pt>
                <c:pt idx="388">
                  <c:v>-182.16293040000164</c:v>
                </c:pt>
                <c:pt idx="389">
                  <c:v>987.12378549999994</c:v>
                </c:pt>
                <c:pt idx="390">
                  <c:v>-916.1652342999987</c:v>
                </c:pt>
                <c:pt idx="391">
                  <c:v>-831.38760080000065</c:v>
                </c:pt>
                <c:pt idx="392">
                  <c:v>-6215.5656978999978</c:v>
                </c:pt>
                <c:pt idx="393">
                  <c:v>2105.7057415999989</c:v>
                </c:pt>
                <c:pt idx="394">
                  <c:v>1610.5870977999984</c:v>
                </c:pt>
                <c:pt idx="395">
                  <c:v>1544.4482874999994</c:v>
                </c:pt>
                <c:pt idx="396">
                  <c:v>1797.7180340000014</c:v>
                </c:pt>
                <c:pt idx="397">
                  <c:v>-1421.2234975000028</c:v>
                </c:pt>
                <c:pt idx="398">
                  <c:v>-1694.6207532000008</c:v>
                </c:pt>
                <c:pt idx="399">
                  <c:v>-2093.8913262000024</c:v>
                </c:pt>
                <c:pt idx="400">
                  <c:v>3142.2666969999991</c:v>
                </c:pt>
                <c:pt idx="401">
                  <c:v>-389.57857290000175</c:v>
                </c:pt>
                <c:pt idx="402">
                  <c:v>1336.6730418999978</c:v>
                </c:pt>
                <c:pt idx="403">
                  <c:v>4807.7734760999992</c:v>
                </c:pt>
                <c:pt idx="404">
                  <c:v>2442.1611837000019</c:v>
                </c:pt>
                <c:pt idx="405">
                  <c:v>8539.1287416000014</c:v>
                </c:pt>
                <c:pt idx="406">
                  <c:v>2132.9623976999937</c:v>
                </c:pt>
                <c:pt idx="407">
                  <c:v>7791.5715249999994</c:v>
                </c:pt>
                <c:pt idx="408">
                  <c:v>7388.4134551999996</c:v>
                </c:pt>
                <c:pt idx="409">
                  <c:v>2873.2253087999998</c:v>
                </c:pt>
                <c:pt idx="410">
                  <c:v>30.039351600000373</c:v>
                </c:pt>
                <c:pt idx="411">
                  <c:v>2418.1928154999987</c:v>
                </c:pt>
                <c:pt idx="412">
                  <c:v>6955.1548151000025</c:v>
                </c:pt>
                <c:pt idx="413">
                  <c:v>1046.3216326000002</c:v>
                </c:pt>
                <c:pt idx="414">
                  <c:v>8817.2457257000024</c:v>
                </c:pt>
                <c:pt idx="415">
                  <c:v>7942.0509093000001</c:v>
                </c:pt>
                <c:pt idx="416">
                  <c:v>2141.9984407000011</c:v>
                </c:pt>
                <c:pt idx="417">
                  <c:v>5115.0088171999996</c:v>
                </c:pt>
                <c:pt idx="418">
                  <c:v>5457.7889490999987</c:v>
                </c:pt>
                <c:pt idx="419">
                  <c:v>4694.4955544999975</c:v>
                </c:pt>
                <c:pt idx="420">
                  <c:v>6325.7045833000011</c:v>
                </c:pt>
                <c:pt idx="421">
                  <c:v>8386.0905238999985</c:v>
                </c:pt>
                <c:pt idx="422">
                  <c:v>9496.5637915999978</c:v>
                </c:pt>
                <c:pt idx="423">
                  <c:v>4891.6575032000001</c:v>
                </c:pt>
                <c:pt idx="424">
                  <c:v>6990.7716875000006</c:v>
                </c:pt>
                <c:pt idx="425">
                  <c:v>7739.3256684999978</c:v>
                </c:pt>
                <c:pt idx="426">
                  <c:v>1038.2550340000016</c:v>
                </c:pt>
                <c:pt idx="427">
                  <c:v>15986.157532800004</c:v>
                </c:pt>
                <c:pt idx="428">
                  <c:v>13970.250539099998</c:v>
                </c:pt>
                <c:pt idx="429">
                  <c:v>6122.1953185999992</c:v>
                </c:pt>
                <c:pt idx="430">
                  <c:v>5098.9976731000024</c:v>
                </c:pt>
                <c:pt idx="431">
                  <c:v>1060.2652287000019</c:v>
                </c:pt>
                <c:pt idx="432">
                  <c:v>5828.3274648999977</c:v>
                </c:pt>
                <c:pt idx="433">
                  <c:v>1587.5095666000016</c:v>
                </c:pt>
                <c:pt idx="434">
                  <c:v>2197.8908117000028</c:v>
                </c:pt>
                <c:pt idx="435">
                  <c:v>1047.5759887000022</c:v>
                </c:pt>
                <c:pt idx="436">
                  <c:v>4757.3348043999977</c:v>
                </c:pt>
                <c:pt idx="437">
                  <c:v>3857.4422641000019</c:v>
                </c:pt>
                <c:pt idx="438">
                  <c:v>-1799.6647997999971</c:v>
                </c:pt>
                <c:pt idx="439">
                  <c:v>-5067.2803805000003</c:v>
                </c:pt>
                <c:pt idx="440">
                  <c:v>-1126.7899455000006</c:v>
                </c:pt>
                <c:pt idx="441">
                  <c:v>-2768.9801090999972</c:v>
                </c:pt>
                <c:pt idx="442">
                  <c:v>-4883.8032545999995</c:v>
                </c:pt>
                <c:pt idx="443">
                  <c:v>-683.67550929999925</c:v>
                </c:pt>
                <c:pt idx="444">
                  <c:v>-4956.7704044999991</c:v>
                </c:pt>
                <c:pt idx="445">
                  <c:v>-4476.3846840999977</c:v>
                </c:pt>
                <c:pt idx="446">
                  <c:v>-5988.9105923999996</c:v>
                </c:pt>
                <c:pt idx="447">
                  <c:v>-4175.7667758999996</c:v>
                </c:pt>
                <c:pt idx="448">
                  <c:v>-2977.7621075999996</c:v>
                </c:pt>
                <c:pt idx="449">
                  <c:v>-2140.7909007999988</c:v>
                </c:pt>
                <c:pt idx="450">
                  <c:v>-3776.1466450999978</c:v>
                </c:pt>
                <c:pt idx="451">
                  <c:v>-1273.4153111000014</c:v>
                </c:pt>
                <c:pt idx="452">
                  <c:v>-5060.0313981999971</c:v>
                </c:pt>
                <c:pt idx="453">
                  <c:v>-1678.1562135999993</c:v>
                </c:pt>
                <c:pt idx="454">
                  <c:v>1218.4708978000017</c:v>
                </c:pt>
                <c:pt idx="455">
                  <c:v>-1941.7377087999994</c:v>
                </c:pt>
                <c:pt idx="456">
                  <c:v>3069.4661360999999</c:v>
                </c:pt>
                <c:pt idx="457">
                  <c:v>4127.5802265999992</c:v>
                </c:pt>
                <c:pt idx="458">
                  <c:v>1950.3030131999985</c:v>
                </c:pt>
                <c:pt idx="459">
                  <c:v>-517.63055370000075</c:v>
                </c:pt>
                <c:pt idx="460">
                  <c:v>-1227.7860403000013</c:v>
                </c:pt>
                <c:pt idx="461">
                  <c:v>-4473.7244139999966</c:v>
                </c:pt>
                <c:pt idx="462">
                  <c:v>-3775.8970527999991</c:v>
                </c:pt>
                <c:pt idx="463">
                  <c:v>-2542.7342644000018</c:v>
                </c:pt>
                <c:pt idx="464">
                  <c:v>-3866.0569230000001</c:v>
                </c:pt>
                <c:pt idx="465">
                  <c:v>-7141.8839331999989</c:v>
                </c:pt>
                <c:pt idx="466">
                  <c:v>-9093.6327789999996</c:v>
                </c:pt>
                <c:pt idx="467">
                  <c:v>-9888.7523980999977</c:v>
                </c:pt>
                <c:pt idx="468">
                  <c:v>-8431.4680872000026</c:v>
                </c:pt>
                <c:pt idx="469">
                  <c:v>-5546.5744530999982</c:v>
                </c:pt>
                <c:pt idx="470">
                  <c:v>-6929.6326809999991</c:v>
                </c:pt>
                <c:pt idx="471">
                  <c:v>-10110.066565400004</c:v>
                </c:pt>
                <c:pt idx="472">
                  <c:v>-8753.7937964999983</c:v>
                </c:pt>
                <c:pt idx="473">
                  <c:v>-7271.5531898000008</c:v>
                </c:pt>
                <c:pt idx="474">
                  <c:v>-10129.843237699999</c:v>
                </c:pt>
                <c:pt idx="475">
                  <c:v>-7985.7288312000019</c:v>
                </c:pt>
                <c:pt idx="476">
                  <c:v>-5710.7078258999973</c:v>
                </c:pt>
                <c:pt idx="477">
                  <c:v>-1249.2784892999989</c:v>
                </c:pt>
                <c:pt idx="478">
                  <c:v>-2215.1595718999997</c:v>
                </c:pt>
                <c:pt idx="479">
                  <c:v>-3338.115189199998</c:v>
                </c:pt>
                <c:pt idx="480">
                  <c:v>-3663.7032927</c:v>
                </c:pt>
                <c:pt idx="481">
                  <c:v>527.94750600000043</c:v>
                </c:pt>
                <c:pt idx="482">
                  <c:v>1666.3605505999985</c:v>
                </c:pt>
                <c:pt idx="483">
                  <c:v>10740.635540699997</c:v>
                </c:pt>
                <c:pt idx="484">
                  <c:v>6321.7123006999973</c:v>
                </c:pt>
                <c:pt idx="485">
                  <c:v>5333.253560899997</c:v>
                </c:pt>
                <c:pt idx="486">
                  <c:v>4484.0922880000035</c:v>
                </c:pt>
                <c:pt idx="487">
                  <c:v>1906.7624438000021</c:v>
                </c:pt>
                <c:pt idx="488">
                  <c:v>6452.9278902000005</c:v>
                </c:pt>
                <c:pt idx="489">
                  <c:v>5582.3977722999989</c:v>
                </c:pt>
                <c:pt idx="490">
                  <c:v>8596.0648624000023</c:v>
                </c:pt>
                <c:pt idx="491">
                  <c:v>7920.1178335000004</c:v>
                </c:pt>
                <c:pt idx="492">
                  <c:v>2897.1199761999997</c:v>
                </c:pt>
                <c:pt idx="493">
                  <c:v>3873.0662312999993</c:v>
                </c:pt>
                <c:pt idx="494">
                  <c:v>3226.7784795999978</c:v>
                </c:pt>
                <c:pt idx="495">
                  <c:v>3079.5093535000015</c:v>
                </c:pt>
                <c:pt idx="496">
                  <c:v>4106.1877393000032</c:v>
                </c:pt>
                <c:pt idx="497">
                  <c:v>7261.8187470999983</c:v>
                </c:pt>
                <c:pt idx="498">
                  <c:v>13349.876030800002</c:v>
                </c:pt>
                <c:pt idx="499">
                  <c:v>6221.8530028000023</c:v>
                </c:pt>
                <c:pt idx="500">
                  <c:v>8379.0336805999978</c:v>
                </c:pt>
                <c:pt idx="501">
                  <c:v>7345.6030198000044</c:v>
                </c:pt>
                <c:pt idx="502">
                  <c:v>26461.855374499999</c:v>
                </c:pt>
                <c:pt idx="503">
                  <c:v>25150.380230900002</c:v>
                </c:pt>
                <c:pt idx="504">
                  <c:v>27139.295111400002</c:v>
                </c:pt>
                <c:pt idx="505">
                  <c:v>11034.276279999998</c:v>
                </c:pt>
                <c:pt idx="506">
                  <c:v>10149.358649900001</c:v>
                </c:pt>
                <c:pt idx="507">
                  <c:v>8788.5014535000009</c:v>
                </c:pt>
                <c:pt idx="508">
                  <c:v>10856.268130500001</c:v>
                </c:pt>
                <c:pt idx="509">
                  <c:v>13561.4522254</c:v>
                </c:pt>
                <c:pt idx="510">
                  <c:v>11112.105317200003</c:v>
                </c:pt>
                <c:pt idx="511">
                  <c:v>14727.291463900001</c:v>
                </c:pt>
                <c:pt idx="512">
                  <c:v>6694.4804073999985</c:v>
                </c:pt>
                <c:pt idx="513">
                  <c:v>11264.9779237</c:v>
                </c:pt>
                <c:pt idx="514">
                  <c:v>6894.1237747000014</c:v>
                </c:pt>
                <c:pt idx="515">
                  <c:v>3545.9622496999982</c:v>
                </c:pt>
                <c:pt idx="516">
                  <c:v>4955.7818251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09-48E6-A9D6-D9AB31889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955199408"/>
        <c:axId val="-95519288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Actual 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518</c:f>
              <c:numCache>
                <c:formatCode>m/d/yyyy</c:formatCode>
                <c:ptCount val="517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  <c:pt idx="365">
                  <c:v>44135</c:v>
                </c:pt>
                <c:pt idx="366">
                  <c:v>44136</c:v>
                </c:pt>
                <c:pt idx="367">
                  <c:v>44137</c:v>
                </c:pt>
                <c:pt idx="368">
                  <c:v>44138</c:v>
                </c:pt>
                <c:pt idx="369">
                  <c:v>44139</c:v>
                </c:pt>
                <c:pt idx="370">
                  <c:v>44140</c:v>
                </c:pt>
                <c:pt idx="371">
                  <c:v>44141</c:v>
                </c:pt>
                <c:pt idx="372">
                  <c:v>44142</c:v>
                </c:pt>
                <c:pt idx="373">
                  <c:v>44143</c:v>
                </c:pt>
                <c:pt idx="374">
                  <c:v>44144</c:v>
                </c:pt>
                <c:pt idx="375">
                  <c:v>44145</c:v>
                </c:pt>
                <c:pt idx="376">
                  <c:v>44146</c:v>
                </c:pt>
                <c:pt idx="377">
                  <c:v>44147</c:v>
                </c:pt>
                <c:pt idx="378">
                  <c:v>44148</c:v>
                </c:pt>
                <c:pt idx="379">
                  <c:v>44149</c:v>
                </c:pt>
                <c:pt idx="380">
                  <c:v>44150</c:v>
                </c:pt>
                <c:pt idx="381">
                  <c:v>44151</c:v>
                </c:pt>
                <c:pt idx="382">
                  <c:v>44152</c:v>
                </c:pt>
                <c:pt idx="383">
                  <c:v>44153</c:v>
                </c:pt>
                <c:pt idx="384">
                  <c:v>44154</c:v>
                </c:pt>
                <c:pt idx="385">
                  <c:v>44155</c:v>
                </c:pt>
                <c:pt idx="386">
                  <c:v>44156</c:v>
                </c:pt>
                <c:pt idx="387">
                  <c:v>44157</c:v>
                </c:pt>
                <c:pt idx="388">
                  <c:v>44158</c:v>
                </c:pt>
                <c:pt idx="389">
                  <c:v>44159</c:v>
                </c:pt>
                <c:pt idx="390">
                  <c:v>44160</c:v>
                </c:pt>
                <c:pt idx="391">
                  <c:v>44161</c:v>
                </c:pt>
                <c:pt idx="392">
                  <c:v>44162</c:v>
                </c:pt>
                <c:pt idx="393">
                  <c:v>44163</c:v>
                </c:pt>
                <c:pt idx="394">
                  <c:v>44164</c:v>
                </c:pt>
                <c:pt idx="395">
                  <c:v>44165</c:v>
                </c:pt>
                <c:pt idx="396">
                  <c:v>44166</c:v>
                </c:pt>
                <c:pt idx="397">
                  <c:v>44167</c:v>
                </c:pt>
                <c:pt idx="398">
                  <c:v>44168</c:v>
                </c:pt>
                <c:pt idx="399">
                  <c:v>44169</c:v>
                </c:pt>
                <c:pt idx="400">
                  <c:v>44170</c:v>
                </c:pt>
                <c:pt idx="401">
                  <c:v>44171</c:v>
                </c:pt>
                <c:pt idx="402">
                  <c:v>44172</c:v>
                </c:pt>
                <c:pt idx="403">
                  <c:v>44173</c:v>
                </c:pt>
                <c:pt idx="404">
                  <c:v>44174</c:v>
                </c:pt>
                <c:pt idx="405">
                  <c:v>44175</c:v>
                </c:pt>
                <c:pt idx="406">
                  <c:v>44176</c:v>
                </c:pt>
                <c:pt idx="407">
                  <c:v>44177</c:v>
                </c:pt>
                <c:pt idx="408">
                  <c:v>44178</c:v>
                </c:pt>
                <c:pt idx="409">
                  <c:v>44179</c:v>
                </c:pt>
                <c:pt idx="410">
                  <c:v>44180</c:v>
                </c:pt>
                <c:pt idx="411">
                  <c:v>44181</c:v>
                </c:pt>
                <c:pt idx="412">
                  <c:v>44182</c:v>
                </c:pt>
                <c:pt idx="413">
                  <c:v>44183</c:v>
                </c:pt>
                <c:pt idx="414">
                  <c:v>44184</c:v>
                </c:pt>
                <c:pt idx="415">
                  <c:v>44185</c:v>
                </c:pt>
                <c:pt idx="416">
                  <c:v>44186</c:v>
                </c:pt>
                <c:pt idx="417">
                  <c:v>44187</c:v>
                </c:pt>
                <c:pt idx="418">
                  <c:v>44188</c:v>
                </c:pt>
                <c:pt idx="419">
                  <c:v>44189</c:v>
                </c:pt>
                <c:pt idx="420">
                  <c:v>44190</c:v>
                </c:pt>
                <c:pt idx="421">
                  <c:v>44191</c:v>
                </c:pt>
                <c:pt idx="422">
                  <c:v>44192</c:v>
                </c:pt>
                <c:pt idx="423">
                  <c:v>44193</c:v>
                </c:pt>
                <c:pt idx="424">
                  <c:v>44194</c:v>
                </c:pt>
                <c:pt idx="425">
                  <c:v>44195</c:v>
                </c:pt>
                <c:pt idx="426">
                  <c:v>44196</c:v>
                </c:pt>
                <c:pt idx="427">
                  <c:v>44197</c:v>
                </c:pt>
                <c:pt idx="428">
                  <c:v>44198</c:v>
                </c:pt>
                <c:pt idx="429">
                  <c:v>44199</c:v>
                </c:pt>
                <c:pt idx="430">
                  <c:v>44200</c:v>
                </c:pt>
                <c:pt idx="431">
                  <c:v>44201</c:v>
                </c:pt>
                <c:pt idx="432">
                  <c:v>44202</c:v>
                </c:pt>
                <c:pt idx="433">
                  <c:v>44203</c:v>
                </c:pt>
                <c:pt idx="434">
                  <c:v>44204</c:v>
                </c:pt>
                <c:pt idx="435">
                  <c:v>44205</c:v>
                </c:pt>
                <c:pt idx="436">
                  <c:v>44206</c:v>
                </c:pt>
                <c:pt idx="437">
                  <c:v>44207</c:v>
                </c:pt>
                <c:pt idx="438">
                  <c:v>44208</c:v>
                </c:pt>
                <c:pt idx="439">
                  <c:v>44209</c:v>
                </c:pt>
                <c:pt idx="440">
                  <c:v>44210</c:v>
                </c:pt>
                <c:pt idx="441">
                  <c:v>44211</c:v>
                </c:pt>
                <c:pt idx="442">
                  <c:v>44212</c:v>
                </c:pt>
                <c:pt idx="443">
                  <c:v>44213</c:v>
                </c:pt>
                <c:pt idx="444">
                  <c:v>44214</c:v>
                </c:pt>
                <c:pt idx="445">
                  <c:v>44215</c:v>
                </c:pt>
                <c:pt idx="446">
                  <c:v>44216</c:v>
                </c:pt>
                <c:pt idx="447">
                  <c:v>44217</c:v>
                </c:pt>
                <c:pt idx="448">
                  <c:v>44218</c:v>
                </c:pt>
                <c:pt idx="449">
                  <c:v>44219</c:v>
                </c:pt>
                <c:pt idx="450">
                  <c:v>44220</c:v>
                </c:pt>
                <c:pt idx="451">
                  <c:v>44221</c:v>
                </c:pt>
                <c:pt idx="452">
                  <c:v>44222</c:v>
                </c:pt>
                <c:pt idx="453">
                  <c:v>44223</c:v>
                </c:pt>
                <c:pt idx="454">
                  <c:v>44224</c:v>
                </c:pt>
                <c:pt idx="455">
                  <c:v>44225</c:v>
                </c:pt>
                <c:pt idx="456">
                  <c:v>44226</c:v>
                </c:pt>
                <c:pt idx="457">
                  <c:v>44227</c:v>
                </c:pt>
                <c:pt idx="458">
                  <c:v>44228</c:v>
                </c:pt>
                <c:pt idx="459">
                  <c:v>44229</c:v>
                </c:pt>
                <c:pt idx="460">
                  <c:v>44230</c:v>
                </c:pt>
                <c:pt idx="461">
                  <c:v>44231</c:v>
                </c:pt>
                <c:pt idx="462">
                  <c:v>44232</c:v>
                </c:pt>
                <c:pt idx="463">
                  <c:v>44233</c:v>
                </c:pt>
                <c:pt idx="464">
                  <c:v>44234</c:v>
                </c:pt>
                <c:pt idx="465">
                  <c:v>44235</c:v>
                </c:pt>
                <c:pt idx="466">
                  <c:v>44236</c:v>
                </c:pt>
                <c:pt idx="467">
                  <c:v>44237</c:v>
                </c:pt>
                <c:pt idx="468">
                  <c:v>44238</c:v>
                </c:pt>
                <c:pt idx="469">
                  <c:v>44239</c:v>
                </c:pt>
                <c:pt idx="470">
                  <c:v>44240</c:v>
                </c:pt>
                <c:pt idx="471">
                  <c:v>44241</c:v>
                </c:pt>
                <c:pt idx="472">
                  <c:v>44242</c:v>
                </c:pt>
                <c:pt idx="473">
                  <c:v>44243</c:v>
                </c:pt>
                <c:pt idx="474">
                  <c:v>44244</c:v>
                </c:pt>
                <c:pt idx="475">
                  <c:v>44245</c:v>
                </c:pt>
                <c:pt idx="476">
                  <c:v>44246</c:v>
                </c:pt>
                <c:pt idx="477">
                  <c:v>44247</c:v>
                </c:pt>
                <c:pt idx="478">
                  <c:v>44248</c:v>
                </c:pt>
                <c:pt idx="479">
                  <c:v>44249</c:v>
                </c:pt>
                <c:pt idx="480">
                  <c:v>44250</c:v>
                </c:pt>
                <c:pt idx="481">
                  <c:v>44251</c:v>
                </c:pt>
                <c:pt idx="482">
                  <c:v>44252</c:v>
                </c:pt>
                <c:pt idx="483">
                  <c:v>44253</c:v>
                </c:pt>
                <c:pt idx="484">
                  <c:v>44254</c:v>
                </c:pt>
                <c:pt idx="485">
                  <c:v>44255</c:v>
                </c:pt>
                <c:pt idx="486">
                  <c:v>44256</c:v>
                </c:pt>
                <c:pt idx="487">
                  <c:v>44257</c:v>
                </c:pt>
                <c:pt idx="488">
                  <c:v>44258</c:v>
                </c:pt>
                <c:pt idx="489">
                  <c:v>44259</c:v>
                </c:pt>
                <c:pt idx="490">
                  <c:v>44260</c:v>
                </c:pt>
                <c:pt idx="491">
                  <c:v>44261</c:v>
                </c:pt>
                <c:pt idx="492">
                  <c:v>44262</c:v>
                </c:pt>
                <c:pt idx="493">
                  <c:v>44263</c:v>
                </c:pt>
                <c:pt idx="494">
                  <c:v>44264</c:v>
                </c:pt>
                <c:pt idx="495">
                  <c:v>44265</c:v>
                </c:pt>
                <c:pt idx="496">
                  <c:v>44266</c:v>
                </c:pt>
                <c:pt idx="497">
                  <c:v>44267</c:v>
                </c:pt>
                <c:pt idx="498">
                  <c:v>44268</c:v>
                </c:pt>
                <c:pt idx="499">
                  <c:v>44269</c:v>
                </c:pt>
                <c:pt idx="500">
                  <c:v>44270</c:v>
                </c:pt>
                <c:pt idx="501">
                  <c:v>44271</c:v>
                </c:pt>
                <c:pt idx="502">
                  <c:v>44272</c:v>
                </c:pt>
                <c:pt idx="503">
                  <c:v>44273</c:v>
                </c:pt>
                <c:pt idx="504">
                  <c:v>44274</c:v>
                </c:pt>
                <c:pt idx="505">
                  <c:v>44275</c:v>
                </c:pt>
                <c:pt idx="506">
                  <c:v>44276</c:v>
                </c:pt>
                <c:pt idx="507">
                  <c:v>44277</c:v>
                </c:pt>
                <c:pt idx="508">
                  <c:v>44278</c:v>
                </c:pt>
                <c:pt idx="509">
                  <c:v>44279</c:v>
                </c:pt>
                <c:pt idx="510">
                  <c:v>44280</c:v>
                </c:pt>
                <c:pt idx="511">
                  <c:v>44281</c:v>
                </c:pt>
                <c:pt idx="512">
                  <c:v>44282</c:v>
                </c:pt>
                <c:pt idx="513">
                  <c:v>44283</c:v>
                </c:pt>
                <c:pt idx="514">
                  <c:v>44284</c:v>
                </c:pt>
                <c:pt idx="515">
                  <c:v>44285</c:v>
                </c:pt>
                <c:pt idx="516">
                  <c:v>44286</c:v>
                </c:pt>
              </c:numCache>
            </c:numRef>
          </c:cat>
          <c:val>
            <c:numRef>
              <c:f>Sheet1!$B$2:$B$518</c:f>
              <c:numCache>
                <c:formatCode>_(* #,##0_);_(* \(#,##0\);_(* "-"??_);_(@_)</c:formatCode>
                <c:ptCount val="517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  <c:pt idx="365">
                  <c:v>26533.66</c:v>
                </c:pt>
                <c:pt idx="366">
                  <c:v>24878.55</c:v>
                </c:pt>
                <c:pt idx="367">
                  <c:v>21164.17</c:v>
                </c:pt>
                <c:pt idx="368">
                  <c:v>23867.46</c:v>
                </c:pt>
                <c:pt idx="369">
                  <c:v>22493.05</c:v>
                </c:pt>
                <c:pt idx="370">
                  <c:v>24183.88</c:v>
                </c:pt>
                <c:pt idx="371">
                  <c:v>29937.74</c:v>
                </c:pt>
                <c:pt idx="372">
                  <c:v>25795.82</c:v>
                </c:pt>
                <c:pt idx="373">
                  <c:v>22586.9</c:v>
                </c:pt>
                <c:pt idx="374">
                  <c:v>16509.66</c:v>
                </c:pt>
                <c:pt idx="375">
                  <c:v>18599.810000000001</c:v>
                </c:pt>
                <c:pt idx="376">
                  <c:v>18598.62</c:v>
                </c:pt>
                <c:pt idx="377">
                  <c:v>19712.79</c:v>
                </c:pt>
                <c:pt idx="378">
                  <c:v>28685.24</c:v>
                </c:pt>
                <c:pt idx="379">
                  <c:v>25276.42</c:v>
                </c:pt>
                <c:pt idx="380">
                  <c:v>20774.599999999999</c:v>
                </c:pt>
                <c:pt idx="381">
                  <c:v>14045.75</c:v>
                </c:pt>
                <c:pt idx="382">
                  <c:v>17269.43</c:v>
                </c:pt>
                <c:pt idx="383">
                  <c:v>19774.04</c:v>
                </c:pt>
                <c:pt idx="384">
                  <c:v>22086.54</c:v>
                </c:pt>
                <c:pt idx="385">
                  <c:v>32956.22</c:v>
                </c:pt>
                <c:pt idx="386">
                  <c:v>24240.83</c:v>
                </c:pt>
                <c:pt idx="387">
                  <c:v>21560.37</c:v>
                </c:pt>
                <c:pt idx="388">
                  <c:v>18524.28</c:v>
                </c:pt>
                <c:pt idx="389">
                  <c:v>17233.8</c:v>
                </c:pt>
                <c:pt idx="390">
                  <c:v>19956.150000000001</c:v>
                </c:pt>
                <c:pt idx="391">
                  <c:v>21294.14</c:v>
                </c:pt>
                <c:pt idx="392">
                  <c:v>34051.620000000003</c:v>
                </c:pt>
                <c:pt idx="393">
                  <c:v>30552.59</c:v>
                </c:pt>
                <c:pt idx="394">
                  <c:v>23479.39</c:v>
                </c:pt>
                <c:pt idx="395">
                  <c:v>18131.62</c:v>
                </c:pt>
                <c:pt idx="396">
                  <c:v>24374.77</c:v>
                </c:pt>
                <c:pt idx="397">
                  <c:v>21138.44</c:v>
                </c:pt>
                <c:pt idx="398">
                  <c:v>27535.57</c:v>
                </c:pt>
                <c:pt idx="399">
                  <c:v>22844.26</c:v>
                </c:pt>
                <c:pt idx="400">
                  <c:v>24351.16</c:v>
                </c:pt>
                <c:pt idx="401">
                  <c:v>20390.099999999999</c:v>
                </c:pt>
                <c:pt idx="402">
                  <c:v>20537.509999999998</c:v>
                </c:pt>
                <c:pt idx="403">
                  <c:v>21017.69</c:v>
                </c:pt>
                <c:pt idx="404">
                  <c:v>22719.31</c:v>
                </c:pt>
                <c:pt idx="405">
                  <c:v>28617.99</c:v>
                </c:pt>
                <c:pt idx="406">
                  <c:v>40174.699999999997</c:v>
                </c:pt>
                <c:pt idx="407">
                  <c:v>26974.29</c:v>
                </c:pt>
                <c:pt idx="408">
                  <c:v>26277.89</c:v>
                </c:pt>
                <c:pt idx="409">
                  <c:v>20151.39</c:v>
                </c:pt>
                <c:pt idx="410">
                  <c:v>18859.84</c:v>
                </c:pt>
                <c:pt idx="411">
                  <c:v>17012.96</c:v>
                </c:pt>
                <c:pt idx="412">
                  <c:v>25924.38</c:v>
                </c:pt>
                <c:pt idx="413">
                  <c:v>29462.73</c:v>
                </c:pt>
                <c:pt idx="414">
                  <c:v>27276.13</c:v>
                </c:pt>
                <c:pt idx="415">
                  <c:v>26408.49</c:v>
                </c:pt>
                <c:pt idx="416">
                  <c:v>19377.63</c:v>
                </c:pt>
                <c:pt idx="417">
                  <c:v>23983.47</c:v>
                </c:pt>
                <c:pt idx="418">
                  <c:v>24276.67</c:v>
                </c:pt>
                <c:pt idx="419">
                  <c:v>39209.089999999997</c:v>
                </c:pt>
                <c:pt idx="420">
                  <c:v>28971.81</c:v>
                </c:pt>
                <c:pt idx="421">
                  <c:v>27133</c:v>
                </c:pt>
                <c:pt idx="422">
                  <c:v>28169.23</c:v>
                </c:pt>
                <c:pt idx="423">
                  <c:v>22476.92</c:v>
                </c:pt>
                <c:pt idx="424">
                  <c:v>26345.66</c:v>
                </c:pt>
                <c:pt idx="425">
                  <c:v>27269.439999999999</c:v>
                </c:pt>
                <c:pt idx="426">
                  <c:v>36167.83</c:v>
                </c:pt>
                <c:pt idx="427">
                  <c:v>43499.33</c:v>
                </c:pt>
                <c:pt idx="428">
                  <c:v>36623.96</c:v>
                </c:pt>
                <c:pt idx="429">
                  <c:v>28586.59</c:v>
                </c:pt>
                <c:pt idx="430">
                  <c:v>26039.56</c:v>
                </c:pt>
                <c:pt idx="431">
                  <c:v>24469.02</c:v>
                </c:pt>
                <c:pt idx="432">
                  <c:v>25751.67</c:v>
                </c:pt>
                <c:pt idx="433">
                  <c:v>26574.720000000001</c:v>
                </c:pt>
                <c:pt idx="434">
                  <c:v>37375.08</c:v>
                </c:pt>
                <c:pt idx="435">
                  <c:v>26865.13</c:v>
                </c:pt>
                <c:pt idx="436">
                  <c:v>30985.8</c:v>
                </c:pt>
                <c:pt idx="437">
                  <c:v>29217.34</c:v>
                </c:pt>
                <c:pt idx="438">
                  <c:v>21276.33</c:v>
                </c:pt>
                <c:pt idx="439">
                  <c:v>22609</c:v>
                </c:pt>
                <c:pt idx="440">
                  <c:v>26712.29</c:v>
                </c:pt>
                <c:pt idx="441">
                  <c:v>27689.06</c:v>
                </c:pt>
                <c:pt idx="442">
                  <c:v>29004.2</c:v>
                </c:pt>
                <c:pt idx="443">
                  <c:v>26282.080000000002</c:v>
                </c:pt>
                <c:pt idx="444">
                  <c:v>20998.93</c:v>
                </c:pt>
                <c:pt idx="445">
                  <c:v>18986.240000000002</c:v>
                </c:pt>
                <c:pt idx="446">
                  <c:v>22177.64</c:v>
                </c:pt>
                <c:pt idx="447">
                  <c:v>24376.13</c:v>
                </c:pt>
                <c:pt idx="448">
                  <c:v>28537.58</c:v>
                </c:pt>
                <c:pt idx="449">
                  <c:v>33127.85</c:v>
                </c:pt>
                <c:pt idx="450">
                  <c:v>24717.72</c:v>
                </c:pt>
                <c:pt idx="451">
                  <c:v>21533.439999999999</c:v>
                </c:pt>
                <c:pt idx="452">
                  <c:v>23644.47</c:v>
                </c:pt>
                <c:pt idx="453">
                  <c:v>26785.040000000001</c:v>
                </c:pt>
                <c:pt idx="454">
                  <c:v>29225.95</c:v>
                </c:pt>
                <c:pt idx="455">
                  <c:v>35077.54</c:v>
                </c:pt>
                <c:pt idx="456">
                  <c:v>29507.34</c:v>
                </c:pt>
                <c:pt idx="457">
                  <c:v>26010.54</c:v>
                </c:pt>
                <c:pt idx="458">
                  <c:v>26897.82</c:v>
                </c:pt>
                <c:pt idx="459">
                  <c:v>26060.62</c:v>
                </c:pt>
                <c:pt idx="460">
                  <c:v>25482.84</c:v>
                </c:pt>
                <c:pt idx="461">
                  <c:v>29469.61</c:v>
                </c:pt>
                <c:pt idx="462">
                  <c:v>26719.13</c:v>
                </c:pt>
                <c:pt idx="463">
                  <c:v>25431.91</c:v>
                </c:pt>
                <c:pt idx="464">
                  <c:v>24692.28</c:v>
                </c:pt>
                <c:pt idx="465">
                  <c:v>20691.36</c:v>
                </c:pt>
                <c:pt idx="466">
                  <c:v>20968.36</c:v>
                </c:pt>
                <c:pt idx="467">
                  <c:v>20548.22</c:v>
                </c:pt>
                <c:pt idx="468">
                  <c:v>18199.71</c:v>
                </c:pt>
                <c:pt idx="469">
                  <c:v>28388.94</c:v>
                </c:pt>
                <c:pt idx="470">
                  <c:v>23921.97</c:v>
                </c:pt>
                <c:pt idx="471">
                  <c:v>27345.1</c:v>
                </c:pt>
                <c:pt idx="472">
                  <c:v>20853.830000000002</c:v>
                </c:pt>
                <c:pt idx="473">
                  <c:v>19337.04</c:v>
                </c:pt>
                <c:pt idx="474">
                  <c:v>20356.63</c:v>
                </c:pt>
                <c:pt idx="475">
                  <c:v>22487.98</c:v>
                </c:pt>
                <c:pt idx="476">
                  <c:v>33787.21</c:v>
                </c:pt>
                <c:pt idx="477">
                  <c:v>27771.97</c:v>
                </c:pt>
                <c:pt idx="478">
                  <c:v>26320.39</c:v>
                </c:pt>
                <c:pt idx="479">
                  <c:v>19272.310000000001</c:v>
                </c:pt>
                <c:pt idx="480">
                  <c:v>24489.99</c:v>
                </c:pt>
                <c:pt idx="481">
                  <c:v>28381.23</c:v>
                </c:pt>
                <c:pt idx="482">
                  <c:v>24901.03</c:v>
                </c:pt>
                <c:pt idx="483">
                  <c:v>40732.949999999997</c:v>
                </c:pt>
                <c:pt idx="484">
                  <c:v>39703.85</c:v>
                </c:pt>
                <c:pt idx="485">
                  <c:v>31611.919999999998</c:v>
                </c:pt>
                <c:pt idx="486">
                  <c:v>25006.080000000002</c:v>
                </c:pt>
                <c:pt idx="487">
                  <c:v>28386.52</c:v>
                </c:pt>
                <c:pt idx="488">
                  <c:v>32784.93</c:v>
                </c:pt>
                <c:pt idx="489">
                  <c:v>31818.03</c:v>
                </c:pt>
                <c:pt idx="490">
                  <c:v>41180.620000000003</c:v>
                </c:pt>
                <c:pt idx="491">
                  <c:v>35762.57</c:v>
                </c:pt>
                <c:pt idx="492">
                  <c:v>29845.16</c:v>
                </c:pt>
                <c:pt idx="493">
                  <c:v>28707.64</c:v>
                </c:pt>
                <c:pt idx="494">
                  <c:v>25672.53</c:v>
                </c:pt>
                <c:pt idx="495">
                  <c:v>30125.29</c:v>
                </c:pt>
                <c:pt idx="496">
                  <c:v>31330.49</c:v>
                </c:pt>
                <c:pt idx="497">
                  <c:v>44184</c:v>
                </c:pt>
                <c:pt idx="498">
                  <c:v>44569.04</c:v>
                </c:pt>
                <c:pt idx="499">
                  <c:v>35327.160000000003</c:v>
                </c:pt>
                <c:pt idx="500">
                  <c:v>31001.119999999999</c:v>
                </c:pt>
                <c:pt idx="501">
                  <c:v>35136.730000000003</c:v>
                </c:pt>
                <c:pt idx="502">
                  <c:v>54303.14</c:v>
                </c:pt>
                <c:pt idx="503">
                  <c:v>53180.54</c:v>
                </c:pt>
                <c:pt idx="504">
                  <c:v>61787</c:v>
                </c:pt>
                <c:pt idx="505">
                  <c:v>40395.24</c:v>
                </c:pt>
                <c:pt idx="506">
                  <c:v>38607.86</c:v>
                </c:pt>
                <c:pt idx="507">
                  <c:v>31419</c:v>
                </c:pt>
                <c:pt idx="508">
                  <c:v>39273.18</c:v>
                </c:pt>
                <c:pt idx="509">
                  <c:v>42228.04</c:v>
                </c:pt>
                <c:pt idx="510">
                  <c:v>39915.72</c:v>
                </c:pt>
                <c:pt idx="511">
                  <c:v>50925.61</c:v>
                </c:pt>
                <c:pt idx="512">
                  <c:v>37562.269999999997</c:v>
                </c:pt>
                <c:pt idx="513">
                  <c:v>40028.15</c:v>
                </c:pt>
                <c:pt idx="514">
                  <c:v>34459.300000000003</c:v>
                </c:pt>
                <c:pt idx="515">
                  <c:v>32904.379999999997</c:v>
                </c:pt>
                <c:pt idx="516">
                  <c:v>30126.9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9509-48E6-A9D6-D9AB31889F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dicted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18</c:f>
              <c:numCache>
                <c:formatCode>m/d/yyyy</c:formatCode>
                <c:ptCount val="517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  <c:pt idx="365">
                  <c:v>44135</c:v>
                </c:pt>
                <c:pt idx="366">
                  <c:v>44136</c:v>
                </c:pt>
                <c:pt idx="367">
                  <c:v>44137</c:v>
                </c:pt>
                <c:pt idx="368">
                  <c:v>44138</c:v>
                </c:pt>
                <c:pt idx="369">
                  <c:v>44139</c:v>
                </c:pt>
                <c:pt idx="370">
                  <c:v>44140</c:v>
                </c:pt>
                <c:pt idx="371">
                  <c:v>44141</c:v>
                </c:pt>
                <c:pt idx="372">
                  <c:v>44142</c:v>
                </c:pt>
                <c:pt idx="373">
                  <c:v>44143</c:v>
                </c:pt>
                <c:pt idx="374">
                  <c:v>44144</c:v>
                </c:pt>
                <c:pt idx="375">
                  <c:v>44145</c:v>
                </c:pt>
                <c:pt idx="376">
                  <c:v>44146</c:v>
                </c:pt>
                <c:pt idx="377">
                  <c:v>44147</c:v>
                </c:pt>
                <c:pt idx="378">
                  <c:v>44148</c:v>
                </c:pt>
                <c:pt idx="379">
                  <c:v>44149</c:v>
                </c:pt>
                <c:pt idx="380">
                  <c:v>44150</c:v>
                </c:pt>
                <c:pt idx="381">
                  <c:v>44151</c:v>
                </c:pt>
                <c:pt idx="382">
                  <c:v>44152</c:v>
                </c:pt>
                <c:pt idx="383">
                  <c:v>44153</c:v>
                </c:pt>
                <c:pt idx="384">
                  <c:v>44154</c:v>
                </c:pt>
                <c:pt idx="385">
                  <c:v>44155</c:v>
                </c:pt>
                <c:pt idx="386">
                  <c:v>44156</c:v>
                </c:pt>
                <c:pt idx="387">
                  <c:v>44157</c:v>
                </c:pt>
                <c:pt idx="388">
                  <c:v>44158</c:v>
                </c:pt>
                <c:pt idx="389">
                  <c:v>44159</c:v>
                </c:pt>
                <c:pt idx="390">
                  <c:v>44160</c:v>
                </c:pt>
                <c:pt idx="391">
                  <c:v>44161</c:v>
                </c:pt>
                <c:pt idx="392">
                  <c:v>44162</c:v>
                </c:pt>
                <c:pt idx="393">
                  <c:v>44163</c:v>
                </c:pt>
                <c:pt idx="394">
                  <c:v>44164</c:v>
                </c:pt>
                <c:pt idx="395">
                  <c:v>44165</c:v>
                </c:pt>
                <c:pt idx="396">
                  <c:v>44166</c:v>
                </c:pt>
                <c:pt idx="397">
                  <c:v>44167</c:v>
                </c:pt>
                <c:pt idx="398">
                  <c:v>44168</c:v>
                </c:pt>
                <c:pt idx="399">
                  <c:v>44169</c:v>
                </c:pt>
                <c:pt idx="400">
                  <c:v>44170</c:v>
                </c:pt>
                <c:pt idx="401">
                  <c:v>44171</c:v>
                </c:pt>
                <c:pt idx="402">
                  <c:v>44172</c:v>
                </c:pt>
                <c:pt idx="403">
                  <c:v>44173</c:v>
                </c:pt>
                <c:pt idx="404">
                  <c:v>44174</c:v>
                </c:pt>
                <c:pt idx="405">
                  <c:v>44175</c:v>
                </c:pt>
                <c:pt idx="406">
                  <c:v>44176</c:v>
                </c:pt>
                <c:pt idx="407">
                  <c:v>44177</c:v>
                </c:pt>
                <c:pt idx="408">
                  <c:v>44178</c:v>
                </c:pt>
                <c:pt idx="409">
                  <c:v>44179</c:v>
                </c:pt>
                <c:pt idx="410">
                  <c:v>44180</c:v>
                </c:pt>
                <c:pt idx="411">
                  <c:v>44181</c:v>
                </c:pt>
                <c:pt idx="412">
                  <c:v>44182</c:v>
                </c:pt>
                <c:pt idx="413">
                  <c:v>44183</c:v>
                </c:pt>
                <c:pt idx="414">
                  <c:v>44184</c:v>
                </c:pt>
                <c:pt idx="415">
                  <c:v>44185</c:v>
                </c:pt>
                <c:pt idx="416">
                  <c:v>44186</c:v>
                </c:pt>
                <c:pt idx="417">
                  <c:v>44187</c:v>
                </c:pt>
                <c:pt idx="418">
                  <c:v>44188</c:v>
                </c:pt>
                <c:pt idx="419">
                  <c:v>44189</c:v>
                </c:pt>
                <c:pt idx="420">
                  <c:v>44190</c:v>
                </c:pt>
                <c:pt idx="421">
                  <c:v>44191</c:v>
                </c:pt>
                <c:pt idx="422">
                  <c:v>44192</c:v>
                </c:pt>
                <c:pt idx="423">
                  <c:v>44193</c:v>
                </c:pt>
                <c:pt idx="424">
                  <c:v>44194</c:v>
                </c:pt>
                <c:pt idx="425">
                  <c:v>44195</c:v>
                </c:pt>
                <c:pt idx="426">
                  <c:v>44196</c:v>
                </c:pt>
                <c:pt idx="427">
                  <c:v>44197</c:v>
                </c:pt>
                <c:pt idx="428">
                  <c:v>44198</c:v>
                </c:pt>
                <c:pt idx="429">
                  <c:v>44199</c:v>
                </c:pt>
                <c:pt idx="430">
                  <c:v>44200</c:v>
                </c:pt>
                <c:pt idx="431">
                  <c:v>44201</c:v>
                </c:pt>
                <c:pt idx="432">
                  <c:v>44202</c:v>
                </c:pt>
                <c:pt idx="433">
                  <c:v>44203</c:v>
                </c:pt>
                <c:pt idx="434">
                  <c:v>44204</c:v>
                </c:pt>
                <c:pt idx="435">
                  <c:v>44205</c:v>
                </c:pt>
                <c:pt idx="436">
                  <c:v>44206</c:v>
                </c:pt>
                <c:pt idx="437">
                  <c:v>44207</c:v>
                </c:pt>
                <c:pt idx="438">
                  <c:v>44208</c:v>
                </c:pt>
                <c:pt idx="439">
                  <c:v>44209</c:v>
                </c:pt>
                <c:pt idx="440">
                  <c:v>44210</c:v>
                </c:pt>
                <c:pt idx="441">
                  <c:v>44211</c:v>
                </c:pt>
                <c:pt idx="442">
                  <c:v>44212</c:v>
                </c:pt>
                <c:pt idx="443">
                  <c:v>44213</c:v>
                </c:pt>
                <c:pt idx="444">
                  <c:v>44214</c:v>
                </c:pt>
                <c:pt idx="445">
                  <c:v>44215</c:v>
                </c:pt>
                <c:pt idx="446">
                  <c:v>44216</c:v>
                </c:pt>
                <c:pt idx="447">
                  <c:v>44217</c:v>
                </c:pt>
                <c:pt idx="448">
                  <c:v>44218</c:v>
                </c:pt>
                <c:pt idx="449">
                  <c:v>44219</c:v>
                </c:pt>
                <c:pt idx="450">
                  <c:v>44220</c:v>
                </c:pt>
                <c:pt idx="451">
                  <c:v>44221</c:v>
                </c:pt>
                <c:pt idx="452">
                  <c:v>44222</c:v>
                </c:pt>
                <c:pt idx="453">
                  <c:v>44223</c:v>
                </c:pt>
                <c:pt idx="454">
                  <c:v>44224</c:v>
                </c:pt>
                <c:pt idx="455">
                  <c:v>44225</c:v>
                </c:pt>
                <c:pt idx="456">
                  <c:v>44226</c:v>
                </c:pt>
                <c:pt idx="457">
                  <c:v>44227</c:v>
                </c:pt>
                <c:pt idx="458">
                  <c:v>44228</c:v>
                </c:pt>
                <c:pt idx="459">
                  <c:v>44229</c:v>
                </c:pt>
                <c:pt idx="460">
                  <c:v>44230</c:v>
                </c:pt>
                <c:pt idx="461">
                  <c:v>44231</c:v>
                </c:pt>
                <c:pt idx="462">
                  <c:v>44232</c:v>
                </c:pt>
                <c:pt idx="463">
                  <c:v>44233</c:v>
                </c:pt>
                <c:pt idx="464">
                  <c:v>44234</c:v>
                </c:pt>
                <c:pt idx="465">
                  <c:v>44235</c:v>
                </c:pt>
                <c:pt idx="466">
                  <c:v>44236</c:v>
                </c:pt>
                <c:pt idx="467">
                  <c:v>44237</c:v>
                </c:pt>
                <c:pt idx="468">
                  <c:v>44238</c:v>
                </c:pt>
                <c:pt idx="469">
                  <c:v>44239</c:v>
                </c:pt>
                <c:pt idx="470">
                  <c:v>44240</c:v>
                </c:pt>
                <c:pt idx="471">
                  <c:v>44241</c:v>
                </c:pt>
                <c:pt idx="472">
                  <c:v>44242</c:v>
                </c:pt>
                <c:pt idx="473">
                  <c:v>44243</c:v>
                </c:pt>
                <c:pt idx="474">
                  <c:v>44244</c:v>
                </c:pt>
                <c:pt idx="475">
                  <c:v>44245</c:v>
                </c:pt>
                <c:pt idx="476">
                  <c:v>44246</c:v>
                </c:pt>
                <c:pt idx="477">
                  <c:v>44247</c:v>
                </c:pt>
                <c:pt idx="478">
                  <c:v>44248</c:v>
                </c:pt>
                <c:pt idx="479">
                  <c:v>44249</c:v>
                </c:pt>
                <c:pt idx="480">
                  <c:v>44250</c:v>
                </c:pt>
                <c:pt idx="481">
                  <c:v>44251</c:v>
                </c:pt>
                <c:pt idx="482">
                  <c:v>44252</c:v>
                </c:pt>
                <c:pt idx="483">
                  <c:v>44253</c:v>
                </c:pt>
                <c:pt idx="484">
                  <c:v>44254</c:v>
                </c:pt>
                <c:pt idx="485">
                  <c:v>44255</c:v>
                </c:pt>
                <c:pt idx="486">
                  <c:v>44256</c:v>
                </c:pt>
                <c:pt idx="487">
                  <c:v>44257</c:v>
                </c:pt>
                <c:pt idx="488">
                  <c:v>44258</c:v>
                </c:pt>
                <c:pt idx="489">
                  <c:v>44259</c:v>
                </c:pt>
                <c:pt idx="490">
                  <c:v>44260</c:v>
                </c:pt>
                <c:pt idx="491">
                  <c:v>44261</c:v>
                </c:pt>
                <c:pt idx="492">
                  <c:v>44262</c:v>
                </c:pt>
                <c:pt idx="493">
                  <c:v>44263</c:v>
                </c:pt>
                <c:pt idx="494">
                  <c:v>44264</c:v>
                </c:pt>
                <c:pt idx="495">
                  <c:v>44265</c:v>
                </c:pt>
                <c:pt idx="496">
                  <c:v>44266</c:v>
                </c:pt>
                <c:pt idx="497">
                  <c:v>44267</c:v>
                </c:pt>
                <c:pt idx="498">
                  <c:v>44268</c:v>
                </c:pt>
                <c:pt idx="499">
                  <c:v>44269</c:v>
                </c:pt>
                <c:pt idx="500">
                  <c:v>44270</c:v>
                </c:pt>
                <c:pt idx="501">
                  <c:v>44271</c:v>
                </c:pt>
                <c:pt idx="502">
                  <c:v>44272</c:v>
                </c:pt>
                <c:pt idx="503">
                  <c:v>44273</c:v>
                </c:pt>
                <c:pt idx="504">
                  <c:v>44274</c:v>
                </c:pt>
                <c:pt idx="505">
                  <c:v>44275</c:v>
                </c:pt>
                <c:pt idx="506">
                  <c:v>44276</c:v>
                </c:pt>
                <c:pt idx="507">
                  <c:v>44277</c:v>
                </c:pt>
                <c:pt idx="508">
                  <c:v>44278</c:v>
                </c:pt>
                <c:pt idx="509">
                  <c:v>44279</c:v>
                </c:pt>
                <c:pt idx="510">
                  <c:v>44280</c:v>
                </c:pt>
                <c:pt idx="511">
                  <c:v>44281</c:v>
                </c:pt>
                <c:pt idx="512">
                  <c:v>44282</c:v>
                </c:pt>
                <c:pt idx="513">
                  <c:v>44283</c:v>
                </c:pt>
                <c:pt idx="514">
                  <c:v>44284</c:v>
                </c:pt>
                <c:pt idx="515">
                  <c:v>44285</c:v>
                </c:pt>
                <c:pt idx="516">
                  <c:v>44286</c:v>
                </c:pt>
              </c:numCache>
            </c:numRef>
          </c:cat>
          <c:val>
            <c:numRef>
              <c:f>Sheet1!$C$2:$C$518</c:f>
              <c:numCache>
                <c:formatCode>General</c:formatCode>
                <c:ptCount val="517"/>
                <c:pt idx="0">
                  <c:v>10531.336684399999</c:v>
                </c:pt>
                <c:pt idx="1">
                  <c:v>5213.7266712999999</c:v>
                </c:pt>
                <c:pt idx="2">
                  <c:v>5326.3967549999998</c:v>
                </c:pt>
                <c:pt idx="3">
                  <c:v>4574.4054579000003</c:v>
                </c:pt>
                <c:pt idx="4">
                  <c:v>5617.2621122</c:v>
                </c:pt>
                <c:pt idx="5">
                  <c:v>5768.6636329000003</c:v>
                </c:pt>
                <c:pt idx="6">
                  <c:v>5908.4154679000003</c:v>
                </c:pt>
                <c:pt idx="7">
                  <c:v>7602.0734316999997</c:v>
                </c:pt>
                <c:pt idx="8">
                  <c:v>6144.4975439999998</c:v>
                </c:pt>
                <c:pt idx="9">
                  <c:v>6247.1393600000001</c:v>
                </c:pt>
                <c:pt idx="10">
                  <c:v>5370.6725047999998</c:v>
                </c:pt>
                <c:pt idx="11">
                  <c:v>6287.2245044000001</c:v>
                </c:pt>
                <c:pt idx="12">
                  <c:v>6316.4811692000003</c:v>
                </c:pt>
                <c:pt idx="13">
                  <c:v>6316.5381310000002</c:v>
                </c:pt>
                <c:pt idx="14">
                  <c:v>11782.583537300001</c:v>
                </c:pt>
                <c:pt idx="15">
                  <c:v>6262.0197975999999</c:v>
                </c:pt>
                <c:pt idx="16">
                  <c:v>6242.3856340000002</c:v>
                </c:pt>
                <c:pt idx="17">
                  <c:v>5324.2357927000003</c:v>
                </c:pt>
                <c:pt idx="18">
                  <c:v>6172.3635271000003</c:v>
                </c:pt>
                <c:pt idx="19">
                  <c:v>7403.3620701</c:v>
                </c:pt>
                <c:pt idx="20">
                  <c:v>6131.8506934999996</c:v>
                </c:pt>
                <c:pt idx="21">
                  <c:v>7695.2693636000004</c:v>
                </c:pt>
                <c:pt idx="22">
                  <c:v>6152.6199469000003</c:v>
                </c:pt>
                <c:pt idx="23">
                  <c:v>6207.0440165</c:v>
                </c:pt>
                <c:pt idx="24">
                  <c:v>5357.7653313000001</c:v>
                </c:pt>
                <c:pt idx="25">
                  <c:v>6290.975633</c:v>
                </c:pt>
                <c:pt idx="26">
                  <c:v>7122.1847085999998</c:v>
                </c:pt>
                <c:pt idx="27">
                  <c:v>6411.7744194999996</c:v>
                </c:pt>
                <c:pt idx="28">
                  <c:v>9774.188349</c:v>
                </c:pt>
                <c:pt idx="29">
                  <c:v>6499.6498967999996</c:v>
                </c:pt>
                <c:pt idx="30">
                  <c:v>6532.8562603999999</c:v>
                </c:pt>
                <c:pt idx="31">
                  <c:v>5652.3726225999999</c:v>
                </c:pt>
                <c:pt idx="32">
                  <c:v>6550.4325981000002</c:v>
                </c:pt>
                <c:pt idx="33">
                  <c:v>6563.5114444000001</c:v>
                </c:pt>
                <c:pt idx="34">
                  <c:v>6578.5357837000001</c:v>
                </c:pt>
                <c:pt idx="35">
                  <c:v>8153.4656639000004</c:v>
                </c:pt>
                <c:pt idx="36">
                  <c:v>6597.0167539000004</c:v>
                </c:pt>
                <c:pt idx="37">
                  <c:v>6635.4777471999996</c:v>
                </c:pt>
                <c:pt idx="38">
                  <c:v>5750.4553820000001</c:v>
                </c:pt>
                <c:pt idx="39">
                  <c:v>6651.7470314000002</c:v>
                </c:pt>
                <c:pt idx="40">
                  <c:v>6687.3652353999996</c:v>
                </c:pt>
                <c:pt idx="41">
                  <c:v>6716.7660053</c:v>
                </c:pt>
                <c:pt idx="42">
                  <c:v>8299.8880489000003</c:v>
                </c:pt>
                <c:pt idx="43">
                  <c:v>6741.6228812999998</c:v>
                </c:pt>
                <c:pt idx="44">
                  <c:v>6739.4571519000001</c:v>
                </c:pt>
                <c:pt idx="45">
                  <c:v>5824.9528681000002</c:v>
                </c:pt>
                <c:pt idx="46">
                  <c:v>6691.5795115000001</c:v>
                </c:pt>
                <c:pt idx="47">
                  <c:v>6678.7400334000004</c:v>
                </c:pt>
                <c:pt idx="48">
                  <c:v>6640.1718613000003</c:v>
                </c:pt>
                <c:pt idx="49">
                  <c:v>9333.8511514999991</c:v>
                </c:pt>
                <c:pt idx="50">
                  <c:v>7179.5093599000002</c:v>
                </c:pt>
                <c:pt idx="51">
                  <c:v>6935.5269592000004</c:v>
                </c:pt>
                <c:pt idx="52">
                  <c:v>5780.2834613000005</c:v>
                </c:pt>
                <c:pt idx="53">
                  <c:v>6724.3201590999997</c:v>
                </c:pt>
                <c:pt idx="54">
                  <c:v>6791.2228458</c:v>
                </c:pt>
                <c:pt idx="55">
                  <c:v>6850.8651003000004</c:v>
                </c:pt>
                <c:pt idx="56">
                  <c:v>11041.800130899999</c:v>
                </c:pt>
                <c:pt idx="57">
                  <c:v>8378.6550260999993</c:v>
                </c:pt>
                <c:pt idx="58">
                  <c:v>7036.6691134000002</c:v>
                </c:pt>
                <c:pt idx="59">
                  <c:v>6176.0632659000003</c:v>
                </c:pt>
                <c:pt idx="60">
                  <c:v>7081.1198198000002</c:v>
                </c:pt>
                <c:pt idx="61">
                  <c:v>7109.0223824000004</c:v>
                </c:pt>
                <c:pt idx="62">
                  <c:v>7135.8268220999998</c:v>
                </c:pt>
                <c:pt idx="63">
                  <c:v>10165.2453417</c:v>
                </c:pt>
                <c:pt idx="64">
                  <c:v>7173.1867175999996</c:v>
                </c:pt>
                <c:pt idx="65">
                  <c:v>7158.7462404999997</c:v>
                </c:pt>
                <c:pt idx="66">
                  <c:v>5699.4549734000002</c:v>
                </c:pt>
                <c:pt idx="67">
                  <c:v>7121.0648001999998</c:v>
                </c:pt>
                <c:pt idx="68">
                  <c:v>7094.3677150000003</c:v>
                </c:pt>
                <c:pt idx="69">
                  <c:v>7038.7928648999996</c:v>
                </c:pt>
                <c:pt idx="70">
                  <c:v>11112.7119764</c:v>
                </c:pt>
                <c:pt idx="71">
                  <c:v>7472.1738986</c:v>
                </c:pt>
                <c:pt idx="72">
                  <c:v>7175.7246138999999</c:v>
                </c:pt>
                <c:pt idx="73">
                  <c:v>5496.4172986000003</c:v>
                </c:pt>
                <c:pt idx="74">
                  <c:v>6939.4278575999997</c:v>
                </c:pt>
                <c:pt idx="75">
                  <c:v>6969.0519179000003</c:v>
                </c:pt>
                <c:pt idx="76">
                  <c:v>9913.1001479000006</c:v>
                </c:pt>
                <c:pt idx="77">
                  <c:v>12389.381485399999</c:v>
                </c:pt>
                <c:pt idx="78">
                  <c:v>8479.2740171000005</c:v>
                </c:pt>
                <c:pt idx="79">
                  <c:v>7839.1643124000002</c:v>
                </c:pt>
                <c:pt idx="80">
                  <c:v>5619.9667485</c:v>
                </c:pt>
                <c:pt idx="81">
                  <c:v>8389.0756564000003</c:v>
                </c:pt>
                <c:pt idx="82">
                  <c:v>7871.5667229000001</c:v>
                </c:pt>
                <c:pt idx="83">
                  <c:v>7077.9210338000003</c:v>
                </c:pt>
                <c:pt idx="84">
                  <c:v>10085.446955400001</c:v>
                </c:pt>
                <c:pt idx="85">
                  <c:v>7082.2580379000001</c:v>
                </c:pt>
                <c:pt idx="86">
                  <c:v>7072.4651760999996</c:v>
                </c:pt>
                <c:pt idx="87">
                  <c:v>5627.2030961</c:v>
                </c:pt>
                <c:pt idx="88">
                  <c:v>7664.5926980000004</c:v>
                </c:pt>
                <c:pt idx="89">
                  <c:v>7498.6021159000002</c:v>
                </c:pt>
                <c:pt idx="90">
                  <c:v>7043.2052357000002</c:v>
                </c:pt>
                <c:pt idx="91">
                  <c:v>10033.7604326</c:v>
                </c:pt>
                <c:pt idx="92">
                  <c:v>7018.7686514999996</c:v>
                </c:pt>
                <c:pt idx="93">
                  <c:v>8291.2496692000004</c:v>
                </c:pt>
                <c:pt idx="94">
                  <c:v>7699.5873419</c:v>
                </c:pt>
                <c:pt idx="95">
                  <c:v>8574.9252011000008</c:v>
                </c:pt>
                <c:pt idx="96">
                  <c:v>8169.5854332999997</c:v>
                </c:pt>
                <c:pt idx="97">
                  <c:v>7009.6532435999998</c:v>
                </c:pt>
                <c:pt idx="98">
                  <c:v>11406.5894799</c:v>
                </c:pt>
                <c:pt idx="99">
                  <c:v>7822.0313538999999</c:v>
                </c:pt>
                <c:pt idx="100">
                  <c:v>7531.5039112000004</c:v>
                </c:pt>
                <c:pt idx="101">
                  <c:v>5725.5436417999999</c:v>
                </c:pt>
                <c:pt idx="102">
                  <c:v>7221.8559193000001</c:v>
                </c:pt>
                <c:pt idx="103">
                  <c:v>7270.1721048999998</c:v>
                </c:pt>
                <c:pt idx="104">
                  <c:v>7314.6742670000003</c:v>
                </c:pt>
                <c:pt idx="105">
                  <c:v>10351.4072369</c:v>
                </c:pt>
                <c:pt idx="106">
                  <c:v>7395.3782521000003</c:v>
                </c:pt>
                <c:pt idx="107">
                  <c:v>7447.9211017999996</c:v>
                </c:pt>
                <c:pt idx="108">
                  <c:v>6120.6530351000001</c:v>
                </c:pt>
                <c:pt idx="109">
                  <c:v>7606.8506298000002</c:v>
                </c:pt>
                <c:pt idx="110">
                  <c:v>7640.1461980000004</c:v>
                </c:pt>
                <c:pt idx="111">
                  <c:v>7680.9655835000003</c:v>
                </c:pt>
                <c:pt idx="112">
                  <c:v>11998.0276084</c:v>
                </c:pt>
                <c:pt idx="113">
                  <c:v>7765.7340475999999</c:v>
                </c:pt>
                <c:pt idx="114">
                  <c:v>7817.0852296000003</c:v>
                </c:pt>
                <c:pt idx="115">
                  <c:v>6383.1712059000001</c:v>
                </c:pt>
                <c:pt idx="116">
                  <c:v>7873.3469261</c:v>
                </c:pt>
                <c:pt idx="117">
                  <c:v>12084.7178098</c:v>
                </c:pt>
                <c:pt idx="118">
                  <c:v>11424.9270148</c:v>
                </c:pt>
                <c:pt idx="119">
                  <c:v>14833.2387858</c:v>
                </c:pt>
                <c:pt idx="120">
                  <c:v>14169.813657999999</c:v>
                </c:pt>
                <c:pt idx="121">
                  <c:v>10534.2944876</c:v>
                </c:pt>
                <c:pt idx="122">
                  <c:v>9076.8720601000005</c:v>
                </c:pt>
                <c:pt idx="123">
                  <c:v>9826.5801804999992</c:v>
                </c:pt>
                <c:pt idx="124">
                  <c:v>12259.2786289</c:v>
                </c:pt>
                <c:pt idx="125">
                  <c:v>10790.314763799999</c:v>
                </c:pt>
                <c:pt idx="126">
                  <c:v>13473.875522</c:v>
                </c:pt>
                <c:pt idx="127">
                  <c:v>14694.2771066</c:v>
                </c:pt>
                <c:pt idx="128">
                  <c:v>13320.933636100001</c:v>
                </c:pt>
                <c:pt idx="129">
                  <c:v>8710.3298451999999</c:v>
                </c:pt>
                <c:pt idx="130">
                  <c:v>12438.962868299999</c:v>
                </c:pt>
                <c:pt idx="131">
                  <c:v>13858.372718799999</c:v>
                </c:pt>
                <c:pt idx="132">
                  <c:v>14795.776848899999</c:v>
                </c:pt>
                <c:pt idx="133">
                  <c:v>17011.433020299999</c:v>
                </c:pt>
                <c:pt idx="134">
                  <c:v>15186.863381499999</c:v>
                </c:pt>
                <c:pt idx="135">
                  <c:v>10226.0007264</c:v>
                </c:pt>
                <c:pt idx="136">
                  <c:v>15143.204828</c:v>
                </c:pt>
                <c:pt idx="137">
                  <c:v>15234.785297</c:v>
                </c:pt>
                <c:pt idx="138">
                  <c:v>10659.9118304</c:v>
                </c:pt>
                <c:pt idx="139">
                  <c:v>14291.441947200001</c:v>
                </c:pt>
                <c:pt idx="140">
                  <c:v>17202.969245600001</c:v>
                </c:pt>
                <c:pt idx="141">
                  <c:v>14146.850240899999</c:v>
                </c:pt>
                <c:pt idx="142">
                  <c:v>13389.872104100001</c:v>
                </c:pt>
                <c:pt idx="143">
                  <c:v>9057.3795343000002</c:v>
                </c:pt>
                <c:pt idx="144">
                  <c:v>12378.546641700001</c:v>
                </c:pt>
                <c:pt idx="145">
                  <c:v>12101.9370777</c:v>
                </c:pt>
                <c:pt idx="146">
                  <c:v>11832.227884</c:v>
                </c:pt>
                <c:pt idx="147">
                  <c:v>18261.157865699999</c:v>
                </c:pt>
                <c:pt idx="148">
                  <c:v>13842.063753300001</c:v>
                </c:pt>
                <c:pt idx="149">
                  <c:v>11318.8683767</c:v>
                </c:pt>
                <c:pt idx="150">
                  <c:v>11755.1189454</c:v>
                </c:pt>
                <c:pt idx="151">
                  <c:v>12467.607415300001</c:v>
                </c:pt>
                <c:pt idx="152">
                  <c:v>13938.360454</c:v>
                </c:pt>
                <c:pt idx="153">
                  <c:v>14299.8995252</c:v>
                </c:pt>
                <c:pt idx="154">
                  <c:v>16564.613174599999</c:v>
                </c:pt>
                <c:pt idx="155">
                  <c:v>15009.539220500001</c:v>
                </c:pt>
                <c:pt idx="156">
                  <c:v>15109.161934600001</c:v>
                </c:pt>
                <c:pt idx="157">
                  <c:v>9505.5990493000008</c:v>
                </c:pt>
                <c:pt idx="158">
                  <c:v>15594.0991481</c:v>
                </c:pt>
                <c:pt idx="159">
                  <c:v>15178.0616641</c:v>
                </c:pt>
                <c:pt idx="160">
                  <c:v>12475.4628137</c:v>
                </c:pt>
                <c:pt idx="161">
                  <c:v>16584.261322099999</c:v>
                </c:pt>
                <c:pt idx="162">
                  <c:v>14604.3105476</c:v>
                </c:pt>
                <c:pt idx="163">
                  <c:v>9557.5693370999998</c:v>
                </c:pt>
                <c:pt idx="164">
                  <c:v>11604.1199507</c:v>
                </c:pt>
                <c:pt idx="165">
                  <c:v>14452.323477100001</c:v>
                </c:pt>
                <c:pt idx="166">
                  <c:v>29093.889088899999</c:v>
                </c:pt>
                <c:pt idx="167">
                  <c:v>28773.618249899999</c:v>
                </c:pt>
                <c:pt idx="168">
                  <c:v>27708.4999026</c:v>
                </c:pt>
                <c:pt idx="169">
                  <c:v>21478.359365200002</c:v>
                </c:pt>
                <c:pt idx="170">
                  <c:v>19020.887472099999</c:v>
                </c:pt>
                <c:pt idx="171">
                  <c:v>12734.3518697</c:v>
                </c:pt>
                <c:pt idx="172">
                  <c:v>14523.499813599999</c:v>
                </c:pt>
                <c:pt idx="173">
                  <c:v>14473.7628391</c:v>
                </c:pt>
                <c:pt idx="174">
                  <c:v>14340.893443700001</c:v>
                </c:pt>
                <c:pt idx="175">
                  <c:v>20918.6648011</c:v>
                </c:pt>
                <c:pt idx="176">
                  <c:v>16343.847122700001</c:v>
                </c:pt>
                <c:pt idx="177">
                  <c:v>14404.068013599999</c:v>
                </c:pt>
                <c:pt idx="178">
                  <c:v>13098.1561396</c:v>
                </c:pt>
                <c:pt idx="179">
                  <c:v>18725.806774199998</c:v>
                </c:pt>
                <c:pt idx="180">
                  <c:v>18922.533109299999</c:v>
                </c:pt>
                <c:pt idx="181">
                  <c:v>16132.440945</c:v>
                </c:pt>
                <c:pt idx="182">
                  <c:v>30638.404174899999</c:v>
                </c:pt>
                <c:pt idx="183">
                  <c:v>22893.778692799999</c:v>
                </c:pt>
                <c:pt idx="184">
                  <c:v>19851.8589952</c:v>
                </c:pt>
                <c:pt idx="185">
                  <c:v>21485.018225200001</c:v>
                </c:pt>
                <c:pt idx="186">
                  <c:v>18482.424230000001</c:v>
                </c:pt>
                <c:pt idx="187">
                  <c:v>14603.411343899999</c:v>
                </c:pt>
                <c:pt idx="188">
                  <c:v>14513.9233621</c:v>
                </c:pt>
                <c:pt idx="189">
                  <c:v>27752.062326399999</c:v>
                </c:pt>
                <c:pt idx="190">
                  <c:v>21042.239484400001</c:v>
                </c:pt>
                <c:pt idx="191">
                  <c:v>18756.313205300001</c:v>
                </c:pt>
                <c:pt idx="192">
                  <c:v>15651.7808312</c:v>
                </c:pt>
                <c:pt idx="193">
                  <c:v>15328.933979900001</c:v>
                </c:pt>
                <c:pt idx="194">
                  <c:v>24008.847453499999</c:v>
                </c:pt>
                <c:pt idx="195">
                  <c:v>22136.108452199998</c:v>
                </c:pt>
                <c:pt idx="196">
                  <c:v>31762.3185529</c:v>
                </c:pt>
                <c:pt idx="197">
                  <c:v>23325.2681228</c:v>
                </c:pt>
                <c:pt idx="198">
                  <c:v>22319.547518399999</c:v>
                </c:pt>
                <c:pt idx="199">
                  <c:v>19193.902272200001</c:v>
                </c:pt>
                <c:pt idx="200">
                  <c:v>23619.9032783</c:v>
                </c:pt>
                <c:pt idx="201">
                  <c:v>22243.875235799998</c:v>
                </c:pt>
                <c:pt idx="202">
                  <c:v>22901.058076599998</c:v>
                </c:pt>
                <c:pt idx="203">
                  <c:v>27171.045672299999</c:v>
                </c:pt>
                <c:pt idx="204">
                  <c:v>24343.735636199999</c:v>
                </c:pt>
                <c:pt idx="205">
                  <c:v>13471.8195915</c:v>
                </c:pt>
                <c:pt idx="206">
                  <c:v>22393.882069399999</c:v>
                </c:pt>
                <c:pt idx="207">
                  <c:v>16344.0495636</c:v>
                </c:pt>
                <c:pt idx="208">
                  <c:v>23729.4557867</c:v>
                </c:pt>
                <c:pt idx="209">
                  <c:v>23782.565345999999</c:v>
                </c:pt>
                <c:pt idx="210">
                  <c:v>25495.110722900001</c:v>
                </c:pt>
                <c:pt idx="211">
                  <c:v>17171.3535868</c:v>
                </c:pt>
                <c:pt idx="212">
                  <c:v>21408.045285600001</c:v>
                </c:pt>
                <c:pt idx="213">
                  <c:v>14498.303235199999</c:v>
                </c:pt>
                <c:pt idx="214">
                  <c:v>21405.498628199999</c:v>
                </c:pt>
                <c:pt idx="215">
                  <c:v>21420.916215099998</c:v>
                </c:pt>
                <c:pt idx="216">
                  <c:v>21002.848943000001</c:v>
                </c:pt>
                <c:pt idx="217">
                  <c:v>27793.075399199999</c:v>
                </c:pt>
                <c:pt idx="218">
                  <c:v>20671.060225699999</c:v>
                </c:pt>
                <c:pt idx="219">
                  <c:v>21069.632622900001</c:v>
                </c:pt>
                <c:pt idx="220">
                  <c:v>13846.804241399999</c:v>
                </c:pt>
                <c:pt idx="221">
                  <c:v>20793.2047251</c:v>
                </c:pt>
                <c:pt idx="222">
                  <c:v>20172.863072600001</c:v>
                </c:pt>
                <c:pt idx="223">
                  <c:v>23858.2838266</c:v>
                </c:pt>
                <c:pt idx="224">
                  <c:v>24234.0176913</c:v>
                </c:pt>
                <c:pt idx="225">
                  <c:v>20542.3580544</c:v>
                </c:pt>
                <c:pt idx="226">
                  <c:v>18497.5566029</c:v>
                </c:pt>
                <c:pt idx="227">
                  <c:v>16330.489255500001</c:v>
                </c:pt>
                <c:pt idx="228">
                  <c:v>18393.487518599999</c:v>
                </c:pt>
                <c:pt idx="229">
                  <c:v>18284.118164799998</c:v>
                </c:pt>
                <c:pt idx="230">
                  <c:v>18182.917573700001</c:v>
                </c:pt>
                <c:pt idx="231">
                  <c:v>26172.646596300001</c:v>
                </c:pt>
                <c:pt idx="232">
                  <c:v>18982.897238500002</c:v>
                </c:pt>
                <c:pt idx="233">
                  <c:v>19396.267692199999</c:v>
                </c:pt>
                <c:pt idx="234">
                  <c:v>16093.4019247</c:v>
                </c:pt>
                <c:pt idx="235">
                  <c:v>18175.703951700001</c:v>
                </c:pt>
                <c:pt idx="236">
                  <c:v>18055.8288842</c:v>
                </c:pt>
                <c:pt idx="237">
                  <c:v>17944.1440454</c:v>
                </c:pt>
                <c:pt idx="238">
                  <c:v>24477.762942500001</c:v>
                </c:pt>
                <c:pt idx="239">
                  <c:v>21347.127817100001</c:v>
                </c:pt>
                <c:pt idx="240">
                  <c:v>19904.008354500002</c:v>
                </c:pt>
                <c:pt idx="241">
                  <c:v>15610.935220400001</c:v>
                </c:pt>
                <c:pt idx="242">
                  <c:v>21273.226514400001</c:v>
                </c:pt>
                <c:pt idx="243">
                  <c:v>17776.9920594</c:v>
                </c:pt>
                <c:pt idx="244">
                  <c:v>17991.216120199999</c:v>
                </c:pt>
                <c:pt idx="245">
                  <c:v>27520.568900599999</c:v>
                </c:pt>
                <c:pt idx="246">
                  <c:v>19679.572990600002</c:v>
                </c:pt>
                <c:pt idx="247">
                  <c:v>15654.6333282</c:v>
                </c:pt>
                <c:pt idx="248">
                  <c:v>19255.852394099998</c:v>
                </c:pt>
                <c:pt idx="249">
                  <c:v>21945.8213756</c:v>
                </c:pt>
                <c:pt idx="250">
                  <c:v>22251.016445199999</c:v>
                </c:pt>
                <c:pt idx="251">
                  <c:v>22611.383678999999</c:v>
                </c:pt>
                <c:pt idx="252">
                  <c:v>26002.680705499999</c:v>
                </c:pt>
                <c:pt idx="253">
                  <c:v>23235.9318446</c:v>
                </c:pt>
                <c:pt idx="254">
                  <c:v>23605.032302899999</c:v>
                </c:pt>
                <c:pt idx="255">
                  <c:v>22551.212689299999</c:v>
                </c:pt>
                <c:pt idx="256">
                  <c:v>24342.8861574</c:v>
                </c:pt>
                <c:pt idx="257">
                  <c:v>24972.203292999999</c:v>
                </c:pt>
                <c:pt idx="258">
                  <c:v>25681.508121899999</c:v>
                </c:pt>
                <c:pt idx="259">
                  <c:v>31714.114105100001</c:v>
                </c:pt>
                <c:pt idx="260">
                  <c:v>25347.1502311</c:v>
                </c:pt>
                <c:pt idx="261">
                  <c:v>25597.705713399999</c:v>
                </c:pt>
                <c:pt idx="262">
                  <c:v>19650.372765700002</c:v>
                </c:pt>
                <c:pt idx="263">
                  <c:v>26375.059738600001</c:v>
                </c:pt>
                <c:pt idx="264">
                  <c:v>25766.806923</c:v>
                </c:pt>
                <c:pt idx="265">
                  <c:v>25985.260368700001</c:v>
                </c:pt>
                <c:pt idx="266">
                  <c:v>33936.565469300003</c:v>
                </c:pt>
                <c:pt idx="267">
                  <c:v>24238.6758883</c:v>
                </c:pt>
                <c:pt idx="268">
                  <c:v>23228.082763900002</c:v>
                </c:pt>
                <c:pt idx="269">
                  <c:v>20811.348411499999</c:v>
                </c:pt>
                <c:pt idx="270">
                  <c:v>24710.814592300001</c:v>
                </c:pt>
                <c:pt idx="271">
                  <c:v>21856.828229800001</c:v>
                </c:pt>
                <c:pt idx="272">
                  <c:v>21136.550902899999</c:v>
                </c:pt>
                <c:pt idx="273">
                  <c:v>26983.1438303</c:v>
                </c:pt>
                <c:pt idx="274">
                  <c:v>28364.257103100001</c:v>
                </c:pt>
                <c:pt idx="275">
                  <c:v>18817.232415499999</c:v>
                </c:pt>
                <c:pt idx="276">
                  <c:v>23335.741018000001</c:v>
                </c:pt>
                <c:pt idx="277">
                  <c:v>18882.718663799998</c:v>
                </c:pt>
                <c:pt idx="278">
                  <c:v>19250.2817445</c:v>
                </c:pt>
                <c:pt idx="279">
                  <c:v>25587.586446000001</c:v>
                </c:pt>
                <c:pt idx="280">
                  <c:v>25508.138463499999</c:v>
                </c:pt>
                <c:pt idx="281">
                  <c:v>20856.072505700002</c:v>
                </c:pt>
                <c:pt idx="282">
                  <c:v>19080.3806773</c:v>
                </c:pt>
                <c:pt idx="283">
                  <c:v>17400.963010799998</c:v>
                </c:pt>
                <c:pt idx="284">
                  <c:v>19856.327313000002</c:v>
                </c:pt>
                <c:pt idx="285">
                  <c:v>20928.263424100001</c:v>
                </c:pt>
                <c:pt idx="286">
                  <c:v>20550.274397500001</c:v>
                </c:pt>
                <c:pt idx="287">
                  <c:v>33713.682562100003</c:v>
                </c:pt>
                <c:pt idx="288">
                  <c:v>20579.844563300001</c:v>
                </c:pt>
                <c:pt idx="289">
                  <c:v>20093.484315199999</c:v>
                </c:pt>
                <c:pt idx="290">
                  <c:v>18105.783071099999</c:v>
                </c:pt>
                <c:pt idx="291">
                  <c:v>24085.0602053</c:v>
                </c:pt>
                <c:pt idx="292">
                  <c:v>20284.209515899998</c:v>
                </c:pt>
                <c:pt idx="293">
                  <c:v>19749.6495774</c:v>
                </c:pt>
                <c:pt idx="294">
                  <c:v>22787.906344899999</c:v>
                </c:pt>
                <c:pt idx="295">
                  <c:v>23685.2945678</c:v>
                </c:pt>
                <c:pt idx="296">
                  <c:v>21032.500725099999</c:v>
                </c:pt>
                <c:pt idx="297">
                  <c:v>18846.750724199999</c:v>
                </c:pt>
                <c:pt idx="298">
                  <c:v>19119.541452900001</c:v>
                </c:pt>
                <c:pt idx="299">
                  <c:v>16031.988021200001</c:v>
                </c:pt>
                <c:pt idx="300">
                  <c:v>19388.5682046</c:v>
                </c:pt>
                <c:pt idx="301">
                  <c:v>20614.416194500001</c:v>
                </c:pt>
                <c:pt idx="302">
                  <c:v>23015.221763400001</c:v>
                </c:pt>
                <c:pt idx="303">
                  <c:v>20842.295215499998</c:v>
                </c:pt>
                <c:pt idx="304">
                  <c:v>20382.617997599998</c:v>
                </c:pt>
                <c:pt idx="305">
                  <c:v>23827.8776712</c:v>
                </c:pt>
                <c:pt idx="306">
                  <c:v>23403.575191299999</c:v>
                </c:pt>
                <c:pt idx="307">
                  <c:v>22307.3023397</c:v>
                </c:pt>
                <c:pt idx="308">
                  <c:v>25294.9922931</c:v>
                </c:pt>
                <c:pt idx="309">
                  <c:v>22453.3989769</c:v>
                </c:pt>
                <c:pt idx="310">
                  <c:v>21019.202379900002</c:v>
                </c:pt>
                <c:pt idx="311">
                  <c:v>21263.216541000002</c:v>
                </c:pt>
                <c:pt idx="312">
                  <c:v>23885.293480200002</c:v>
                </c:pt>
                <c:pt idx="313">
                  <c:v>16577.946601</c:v>
                </c:pt>
                <c:pt idx="314">
                  <c:v>24261.412975499999</c:v>
                </c:pt>
                <c:pt idx="315">
                  <c:v>26668.647203299999</c:v>
                </c:pt>
                <c:pt idx="316">
                  <c:v>23300.801261000001</c:v>
                </c:pt>
                <c:pt idx="317">
                  <c:v>17046.100483900002</c:v>
                </c:pt>
                <c:pt idx="318">
                  <c:v>21030.7142638</c:v>
                </c:pt>
                <c:pt idx="319">
                  <c:v>22182.6933087</c:v>
                </c:pt>
                <c:pt idx="320">
                  <c:v>22038.345028799999</c:v>
                </c:pt>
                <c:pt idx="321">
                  <c:v>22752.3422804</c:v>
                </c:pt>
                <c:pt idx="322">
                  <c:v>25190.343664399999</c:v>
                </c:pt>
                <c:pt idx="323">
                  <c:v>22874.386112799999</c:v>
                </c:pt>
                <c:pt idx="324">
                  <c:v>22644.724840399998</c:v>
                </c:pt>
                <c:pt idx="325">
                  <c:v>21201.013248899999</c:v>
                </c:pt>
                <c:pt idx="326">
                  <c:v>22729.1405056</c:v>
                </c:pt>
                <c:pt idx="327">
                  <c:v>23215.430974399998</c:v>
                </c:pt>
                <c:pt idx="328">
                  <c:v>23307.5401466</c:v>
                </c:pt>
                <c:pt idx="329">
                  <c:v>26428.607597999999</c:v>
                </c:pt>
                <c:pt idx="330">
                  <c:v>23305.427198500001</c:v>
                </c:pt>
                <c:pt idx="331">
                  <c:v>16932.257810999999</c:v>
                </c:pt>
                <c:pt idx="332">
                  <c:v>20817.7225727</c:v>
                </c:pt>
                <c:pt idx="333">
                  <c:v>17274.768842599999</c:v>
                </c:pt>
                <c:pt idx="334">
                  <c:v>23913.916933500001</c:v>
                </c:pt>
                <c:pt idx="335">
                  <c:v>22764.240552200001</c:v>
                </c:pt>
                <c:pt idx="336">
                  <c:v>27264.843884099999</c:v>
                </c:pt>
                <c:pt idx="337">
                  <c:v>30557.139386700001</c:v>
                </c:pt>
                <c:pt idx="338">
                  <c:v>24871.870106999999</c:v>
                </c:pt>
                <c:pt idx="339">
                  <c:v>18547.895513399999</c:v>
                </c:pt>
                <c:pt idx="340">
                  <c:v>23548.955406900001</c:v>
                </c:pt>
                <c:pt idx="341">
                  <c:v>18535.045033999999</c:v>
                </c:pt>
                <c:pt idx="342">
                  <c:v>23699.8690097</c:v>
                </c:pt>
                <c:pt idx="343">
                  <c:v>25474.224958399998</c:v>
                </c:pt>
                <c:pt idx="344">
                  <c:v>22427.135048600001</c:v>
                </c:pt>
                <c:pt idx="345">
                  <c:v>22553.708490599998</c:v>
                </c:pt>
                <c:pt idx="346">
                  <c:v>17881.097408199999</c:v>
                </c:pt>
                <c:pt idx="347">
                  <c:v>22141.296575</c:v>
                </c:pt>
                <c:pt idx="348">
                  <c:v>21277.495490199999</c:v>
                </c:pt>
                <c:pt idx="349">
                  <c:v>21824.472011599999</c:v>
                </c:pt>
                <c:pt idx="350">
                  <c:v>27462.996185100001</c:v>
                </c:pt>
                <c:pt idx="351">
                  <c:v>21057.780739999998</c:v>
                </c:pt>
                <c:pt idx="352">
                  <c:v>21113.134368200001</c:v>
                </c:pt>
                <c:pt idx="353">
                  <c:v>18312.518671500002</c:v>
                </c:pt>
                <c:pt idx="354">
                  <c:v>20420.4212176</c:v>
                </c:pt>
                <c:pt idx="355">
                  <c:v>18630.355110699998</c:v>
                </c:pt>
                <c:pt idx="356">
                  <c:v>19207.619845599998</c:v>
                </c:pt>
                <c:pt idx="357">
                  <c:v>28767.840410500001</c:v>
                </c:pt>
                <c:pt idx="358">
                  <c:v>19243.021724900002</c:v>
                </c:pt>
                <c:pt idx="359">
                  <c:v>19611.485591799999</c:v>
                </c:pt>
                <c:pt idx="360">
                  <c:v>19584.300186600001</c:v>
                </c:pt>
                <c:pt idx="361">
                  <c:v>20709.7306307</c:v>
                </c:pt>
                <c:pt idx="362">
                  <c:v>21770.7697415</c:v>
                </c:pt>
                <c:pt idx="363">
                  <c:v>20304.300771400001</c:v>
                </c:pt>
                <c:pt idx="364">
                  <c:v>24398.2963776</c:v>
                </c:pt>
                <c:pt idx="365">
                  <c:v>21081.042730000001</c:v>
                </c:pt>
                <c:pt idx="366">
                  <c:v>21337.124069699999</c:v>
                </c:pt>
                <c:pt idx="367">
                  <c:v>20145.668234100001</c:v>
                </c:pt>
                <c:pt idx="368">
                  <c:v>17572.822245899999</c:v>
                </c:pt>
                <c:pt idx="369">
                  <c:v>24560.893298300001</c:v>
                </c:pt>
                <c:pt idx="370">
                  <c:v>22204.0903793</c:v>
                </c:pt>
                <c:pt idx="371">
                  <c:v>22174.846524</c:v>
                </c:pt>
                <c:pt idx="372">
                  <c:v>21710.8865706</c:v>
                </c:pt>
                <c:pt idx="373">
                  <c:v>21700.217529500002</c:v>
                </c:pt>
                <c:pt idx="374">
                  <c:v>20504.8515171</c:v>
                </c:pt>
                <c:pt idx="375">
                  <c:v>17981.2083313</c:v>
                </c:pt>
                <c:pt idx="376">
                  <c:v>22489.745118800001</c:v>
                </c:pt>
                <c:pt idx="377">
                  <c:v>22398.5970691</c:v>
                </c:pt>
                <c:pt idx="378">
                  <c:v>25046.3657666</c:v>
                </c:pt>
                <c:pt idx="379">
                  <c:v>28461.957312400002</c:v>
                </c:pt>
                <c:pt idx="380">
                  <c:v>21466.8897292</c:v>
                </c:pt>
                <c:pt idx="381">
                  <c:v>15631.966714599999</c:v>
                </c:pt>
                <c:pt idx="382">
                  <c:v>21477.246786600001</c:v>
                </c:pt>
                <c:pt idx="383">
                  <c:v>21336.592358400001</c:v>
                </c:pt>
                <c:pt idx="384">
                  <c:v>21115.3355132</c:v>
                </c:pt>
                <c:pt idx="385">
                  <c:v>30450.2724695</c:v>
                </c:pt>
                <c:pt idx="386">
                  <c:v>20180.477601899998</c:v>
                </c:pt>
                <c:pt idx="387">
                  <c:v>19982.510890900001</c:v>
                </c:pt>
                <c:pt idx="388">
                  <c:v>18706.4429304</c:v>
                </c:pt>
                <c:pt idx="389">
                  <c:v>16246.676214499999</c:v>
                </c:pt>
                <c:pt idx="390">
                  <c:v>20872.3152343</c:v>
                </c:pt>
                <c:pt idx="391">
                  <c:v>22125.5276008</c:v>
                </c:pt>
                <c:pt idx="392">
                  <c:v>40267.1856979</c:v>
                </c:pt>
                <c:pt idx="393">
                  <c:v>28446.884258400001</c:v>
                </c:pt>
                <c:pt idx="394">
                  <c:v>21868.802902200001</c:v>
                </c:pt>
                <c:pt idx="395">
                  <c:v>16587.1717125</c:v>
                </c:pt>
                <c:pt idx="396">
                  <c:v>22577.051965999999</c:v>
                </c:pt>
                <c:pt idx="397">
                  <c:v>22559.663497500002</c:v>
                </c:pt>
                <c:pt idx="398">
                  <c:v>29230.1907532</c:v>
                </c:pt>
                <c:pt idx="399">
                  <c:v>24938.151326200001</c:v>
                </c:pt>
                <c:pt idx="400">
                  <c:v>21208.893303000001</c:v>
                </c:pt>
                <c:pt idx="401">
                  <c:v>20779.6785729</c:v>
                </c:pt>
                <c:pt idx="402">
                  <c:v>19200.836958100001</c:v>
                </c:pt>
                <c:pt idx="403">
                  <c:v>16209.916523899999</c:v>
                </c:pt>
                <c:pt idx="404">
                  <c:v>20277.148816299999</c:v>
                </c:pt>
                <c:pt idx="405">
                  <c:v>20078.8612584</c:v>
                </c:pt>
                <c:pt idx="406">
                  <c:v>38041.737602300003</c:v>
                </c:pt>
                <c:pt idx="407">
                  <c:v>19182.718475000001</c:v>
                </c:pt>
                <c:pt idx="408">
                  <c:v>18889.4765448</c:v>
                </c:pt>
                <c:pt idx="409">
                  <c:v>17278.1646912</c:v>
                </c:pt>
                <c:pt idx="410">
                  <c:v>18829.8006484</c:v>
                </c:pt>
                <c:pt idx="411">
                  <c:v>14594.7671845</c:v>
                </c:pt>
                <c:pt idx="412">
                  <c:v>18969.225184899999</c:v>
                </c:pt>
                <c:pt idx="413">
                  <c:v>28416.408367399999</c:v>
                </c:pt>
                <c:pt idx="414">
                  <c:v>18458.884274299999</c:v>
                </c:pt>
                <c:pt idx="415">
                  <c:v>18466.439090700002</c:v>
                </c:pt>
                <c:pt idx="416">
                  <c:v>17235.6315593</c:v>
                </c:pt>
                <c:pt idx="417">
                  <c:v>18868.461182800002</c:v>
                </c:pt>
                <c:pt idx="418">
                  <c:v>18818.8810509</c:v>
                </c:pt>
                <c:pt idx="419">
                  <c:v>34514.594445499999</c:v>
                </c:pt>
                <c:pt idx="420">
                  <c:v>22646.1054167</c:v>
                </c:pt>
                <c:pt idx="421">
                  <c:v>18746.909476100001</c:v>
                </c:pt>
                <c:pt idx="422">
                  <c:v>18672.666208400002</c:v>
                </c:pt>
                <c:pt idx="423">
                  <c:v>17585.262496799998</c:v>
                </c:pt>
                <c:pt idx="424">
                  <c:v>19354.888312499999</c:v>
                </c:pt>
                <c:pt idx="425">
                  <c:v>19530.114331500001</c:v>
                </c:pt>
                <c:pt idx="426">
                  <c:v>35129.574966</c:v>
                </c:pt>
                <c:pt idx="427">
                  <c:v>27513.172467199998</c:v>
                </c:pt>
                <c:pt idx="428">
                  <c:v>22653.709460900001</c:v>
                </c:pt>
                <c:pt idx="429">
                  <c:v>22464.394681400001</c:v>
                </c:pt>
                <c:pt idx="430">
                  <c:v>20940.562326899999</c:v>
                </c:pt>
                <c:pt idx="431">
                  <c:v>23408.754771299999</c:v>
                </c:pt>
                <c:pt idx="432">
                  <c:v>19923.342535100001</c:v>
                </c:pt>
                <c:pt idx="433">
                  <c:v>24987.2104334</c:v>
                </c:pt>
                <c:pt idx="434">
                  <c:v>35177.189188299999</c:v>
                </c:pt>
                <c:pt idx="435">
                  <c:v>25817.554011299999</c:v>
                </c:pt>
                <c:pt idx="436">
                  <c:v>26228.465195600002</c:v>
                </c:pt>
                <c:pt idx="437">
                  <c:v>25359.897735899998</c:v>
                </c:pt>
                <c:pt idx="438">
                  <c:v>23075.994799799999</c:v>
                </c:pt>
                <c:pt idx="439">
                  <c:v>27676.2803805</c:v>
                </c:pt>
                <c:pt idx="440">
                  <c:v>27839.079945500001</c:v>
                </c:pt>
                <c:pt idx="441">
                  <c:v>30458.040109099999</c:v>
                </c:pt>
                <c:pt idx="442">
                  <c:v>33888.0032546</c:v>
                </c:pt>
                <c:pt idx="443">
                  <c:v>26965.755509300001</c:v>
                </c:pt>
                <c:pt idx="444">
                  <c:v>25955.700404499999</c:v>
                </c:pt>
                <c:pt idx="445">
                  <c:v>23462.624684099999</c:v>
                </c:pt>
                <c:pt idx="446">
                  <c:v>28166.550592399999</c:v>
                </c:pt>
                <c:pt idx="447">
                  <c:v>28551.896775900001</c:v>
                </c:pt>
                <c:pt idx="448">
                  <c:v>31515.342107600001</c:v>
                </c:pt>
                <c:pt idx="449">
                  <c:v>35268.640900799997</c:v>
                </c:pt>
                <c:pt idx="450">
                  <c:v>28493.866645099999</c:v>
                </c:pt>
                <c:pt idx="451">
                  <c:v>22806.8553111</c:v>
                </c:pt>
                <c:pt idx="452">
                  <c:v>28704.501398199998</c:v>
                </c:pt>
                <c:pt idx="453">
                  <c:v>28463.1962136</c:v>
                </c:pt>
                <c:pt idx="454">
                  <c:v>28007.479102199999</c:v>
                </c:pt>
                <c:pt idx="455">
                  <c:v>37019.2777088</c:v>
                </c:pt>
                <c:pt idx="456">
                  <c:v>26437.8738639</c:v>
                </c:pt>
                <c:pt idx="457">
                  <c:v>21882.959773400002</c:v>
                </c:pt>
                <c:pt idx="458">
                  <c:v>24947.516986800001</c:v>
                </c:pt>
                <c:pt idx="459">
                  <c:v>26578.2505537</c:v>
                </c:pt>
                <c:pt idx="460">
                  <c:v>26710.626040300001</c:v>
                </c:pt>
                <c:pt idx="461">
                  <c:v>33943.334413999997</c:v>
                </c:pt>
                <c:pt idx="462">
                  <c:v>30495.0270528</c:v>
                </c:pt>
                <c:pt idx="463">
                  <c:v>27974.644264400002</c:v>
                </c:pt>
                <c:pt idx="464">
                  <c:v>28558.336922999999</c:v>
                </c:pt>
                <c:pt idx="465">
                  <c:v>27833.243933199999</c:v>
                </c:pt>
                <c:pt idx="466">
                  <c:v>30061.992779</c:v>
                </c:pt>
                <c:pt idx="467">
                  <c:v>30436.972398099999</c:v>
                </c:pt>
                <c:pt idx="468">
                  <c:v>26631.178087200002</c:v>
                </c:pt>
                <c:pt idx="469">
                  <c:v>33935.514453099997</c:v>
                </c:pt>
                <c:pt idx="470">
                  <c:v>30851.602681</c:v>
                </c:pt>
                <c:pt idx="471">
                  <c:v>37455.166565400003</c:v>
                </c:pt>
                <c:pt idx="472">
                  <c:v>29607.6237965</c:v>
                </c:pt>
                <c:pt idx="473">
                  <c:v>26608.593189800002</c:v>
                </c:pt>
                <c:pt idx="474">
                  <c:v>30486.4732377</c:v>
                </c:pt>
                <c:pt idx="475">
                  <c:v>30473.708831200001</c:v>
                </c:pt>
                <c:pt idx="476">
                  <c:v>39497.917825899996</c:v>
                </c:pt>
                <c:pt idx="477">
                  <c:v>29021.2484893</c:v>
                </c:pt>
                <c:pt idx="478">
                  <c:v>28535.549571899999</c:v>
                </c:pt>
                <c:pt idx="479">
                  <c:v>22610.425189199999</c:v>
                </c:pt>
                <c:pt idx="480">
                  <c:v>28153.693292700002</c:v>
                </c:pt>
                <c:pt idx="481">
                  <c:v>27853.282493999999</c:v>
                </c:pt>
                <c:pt idx="482">
                  <c:v>23234.6694494</c:v>
                </c:pt>
                <c:pt idx="483">
                  <c:v>29992.3144593</c:v>
                </c:pt>
                <c:pt idx="484">
                  <c:v>33382.137699300001</c:v>
                </c:pt>
                <c:pt idx="485">
                  <c:v>26278.666439100001</c:v>
                </c:pt>
                <c:pt idx="486">
                  <c:v>20521.987711999998</c:v>
                </c:pt>
                <c:pt idx="487">
                  <c:v>26479.757556199998</c:v>
                </c:pt>
                <c:pt idx="488">
                  <c:v>26332.0021098</c:v>
                </c:pt>
                <c:pt idx="489">
                  <c:v>26235.6322277</c:v>
                </c:pt>
                <c:pt idx="490">
                  <c:v>32584.5551376</c:v>
                </c:pt>
                <c:pt idx="491">
                  <c:v>27842.452166499999</c:v>
                </c:pt>
                <c:pt idx="492">
                  <c:v>26948.0400238</c:v>
                </c:pt>
                <c:pt idx="493">
                  <c:v>24834.5737687</c:v>
                </c:pt>
                <c:pt idx="494">
                  <c:v>22445.751520400001</c:v>
                </c:pt>
                <c:pt idx="495">
                  <c:v>27045.780646499999</c:v>
                </c:pt>
                <c:pt idx="496">
                  <c:v>27224.302260699998</c:v>
                </c:pt>
                <c:pt idx="497">
                  <c:v>36922.181252900002</c:v>
                </c:pt>
                <c:pt idx="498">
                  <c:v>31219.163969199999</c:v>
                </c:pt>
                <c:pt idx="499">
                  <c:v>29105.306997200001</c:v>
                </c:pt>
                <c:pt idx="500">
                  <c:v>22622.086319400001</c:v>
                </c:pt>
                <c:pt idx="501">
                  <c:v>27791.126980199999</c:v>
                </c:pt>
                <c:pt idx="502">
                  <c:v>27841.2846255</c:v>
                </c:pt>
                <c:pt idx="503">
                  <c:v>28030.159769099999</c:v>
                </c:pt>
                <c:pt idx="504">
                  <c:v>34647.704888599998</c:v>
                </c:pt>
                <c:pt idx="505">
                  <c:v>29360.96372</c:v>
                </c:pt>
                <c:pt idx="506">
                  <c:v>28458.501350099999</c:v>
                </c:pt>
                <c:pt idx="507">
                  <c:v>22630.498546499999</c:v>
                </c:pt>
                <c:pt idx="508">
                  <c:v>28416.9118695</c:v>
                </c:pt>
                <c:pt idx="509">
                  <c:v>28666.587774600001</c:v>
                </c:pt>
                <c:pt idx="510">
                  <c:v>28803.614682799998</c:v>
                </c:pt>
                <c:pt idx="511">
                  <c:v>36198.3185361</c:v>
                </c:pt>
                <c:pt idx="512">
                  <c:v>30867.789592599998</c:v>
                </c:pt>
                <c:pt idx="513">
                  <c:v>28763.172076300001</c:v>
                </c:pt>
                <c:pt idx="514">
                  <c:v>27565.176225300002</c:v>
                </c:pt>
                <c:pt idx="515">
                  <c:v>29358.417750299999</c:v>
                </c:pt>
                <c:pt idx="516">
                  <c:v>25171.1281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09-48E6-A9D6-D9AB31889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[$-14009]dd/mmm/yy;@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lang="ja-JP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At val="0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0" baseline="0" dirty="0"/>
                  <a:t>App Revenue ( ‘000 USD)</a:t>
                </a:r>
                <a:endParaRPr lang="en-IN" b="0" dirty="0"/>
              </a:p>
            </c:rich>
          </c:tx>
          <c:layout>
            <c:manualLayout>
              <c:xMode val="edge"/>
              <c:yMode val="edge"/>
              <c:x val="3.1645569620253167E-2"/>
              <c:y val="0.136047392660823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985844667173249"/>
          <c:y val="0.76551403951864505"/>
          <c:w val="0.49649523239974752"/>
          <c:h val="6.4476551280146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  <c:pt idx="3">
                  <c:v>Total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7719780650983045</c:v>
                </c:pt>
                <c:pt idx="1">
                  <c:v>5.3386430082417752E-2</c:v>
                </c:pt>
                <c:pt idx="2">
                  <c:v>0.16830278258490344</c:v>
                </c:pt>
                <c:pt idx="3">
                  <c:v>0.49888701917715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  <c:pt idx="3">
                  <c:v>Total</c:v>
                </c:pt>
              </c:strCache>
            </c:strRef>
          </c:cat>
          <c:val>
            <c:numRef>
              <c:f>Sheet1!$B$2:$B$5</c:f>
              <c:numCache>
                <c:formatCode>#,##0.0</c:formatCode>
                <c:ptCount val="4"/>
                <c:pt idx="0">
                  <c:v>18.351266523438493</c:v>
                </c:pt>
                <c:pt idx="1">
                  <c:v>8.1654844287111903</c:v>
                </c:pt>
                <c:pt idx="2">
                  <c:v>39.067686559992907</c:v>
                </c:pt>
                <c:pt idx="3">
                  <c:v>24.250094275198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ferrals</c:v>
                </c:pt>
                <c:pt idx="1">
                  <c:v>Event </c:v>
                </c:pt>
                <c:pt idx="2">
                  <c:v>Sign up</c:v>
                </c:pt>
                <c:pt idx="3">
                  <c:v>Total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1404.242699999997</c:v>
                </c:pt>
                <c:pt idx="1">
                  <c:v>977.29</c:v>
                </c:pt>
                <c:pt idx="2">
                  <c:v>14740.751</c:v>
                </c:pt>
                <c:pt idx="3">
                  <c:v>27122.2836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33E-4F77-85AB-A1331CB3E6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o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</c:formatCode>
                <c:ptCount val="8"/>
                <c:pt idx="0">
                  <c:v>1398</c:v>
                </c:pt>
                <c:pt idx="1">
                  <c:v>966.54480574210822</c:v>
                </c:pt>
                <c:pt idx="2">
                  <c:v>107</c:v>
                </c:pt>
                <c:pt idx="3">
                  <c:v>79</c:v>
                </c:pt>
                <c:pt idx="4">
                  <c:v>30</c:v>
                </c:pt>
                <c:pt idx="5">
                  <c:v>13</c:v>
                </c:pt>
                <c:pt idx="6">
                  <c:v>6</c:v>
                </c:pt>
                <c:pt idx="7">
                  <c:v>2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CE-42EC-9480-CB225E4F7F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b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</c:formatCode>
                <c:ptCount val="8"/>
                <c:pt idx="0">
                  <c:v>14</c:v>
                </c:pt>
                <c:pt idx="1">
                  <c:v>33.995461024686755</c:v>
                </c:pt>
                <c:pt idx="2">
                  <c:v>3.4</c:v>
                </c:pt>
                <c:pt idx="3">
                  <c:v>2.2999999999999998</c:v>
                </c:pt>
                <c:pt idx="4">
                  <c:v>93.3</c:v>
                </c:pt>
                <c:pt idx="5">
                  <c:v>25.8</c:v>
                </c:pt>
                <c:pt idx="6">
                  <c:v>4.5999999999999996</c:v>
                </c:pt>
                <c:pt idx="7">
                  <c:v>13.268369437171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30-4951-A2B1-8DB67F0832E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o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</c:formatCode>
                <c:ptCount val="8"/>
                <c:pt idx="0">
                  <c:v>7.5543934911570778</c:v>
                </c:pt>
                <c:pt idx="1">
                  <c:v>36.652924583544134</c:v>
                </c:pt>
                <c:pt idx="2">
                  <c:v>7.4714707342062132</c:v>
                </c:pt>
                <c:pt idx="3">
                  <c:v>4.0841633406167075</c:v>
                </c:pt>
                <c:pt idx="4">
                  <c:v>62.669694324366603</c:v>
                </c:pt>
                <c:pt idx="5">
                  <c:v>32.267595162550556</c:v>
                </c:pt>
                <c:pt idx="6">
                  <c:v>8.7534007763505723</c:v>
                </c:pt>
                <c:pt idx="7">
                  <c:v>11.325586401432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DC-4005-8807-46D82C1FDB1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o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0</c:formatCode>
                <c:ptCount val="8"/>
                <c:pt idx="0">
                  <c:v>0.53944310745164714</c:v>
                </c:pt>
                <c:pt idx="1">
                  <c:v>1.0781711286964921</c:v>
                </c:pt>
                <c:pt idx="2">
                  <c:v>2.2043094428764047</c:v>
                </c:pt>
                <c:pt idx="3">
                  <c:v>1.7609105939339833</c:v>
                </c:pt>
                <c:pt idx="4">
                  <c:v>0.671973692497979</c:v>
                </c:pt>
                <c:pt idx="5">
                  <c:v>1.2500094806288513</c:v>
                </c:pt>
                <c:pt idx="6">
                  <c:v>1.9182615111824586</c:v>
                </c:pt>
                <c:pt idx="7">
                  <c:v>0.85357786087137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Model</a:t>
            </a:r>
            <a:r>
              <a:rPr lang="en-IN" baseline="0"/>
              <a:t> Fit</a:t>
            </a:r>
            <a:endParaRPr lang="en-I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Model Fit'!$F$9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F$10:$F$739</c:f>
              <c:numCache>
                <c:formatCode>General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A0-436E-9D41-37465DD9E5C6}"/>
            </c:ext>
          </c:extLst>
        </c:ser>
        <c:ser>
          <c:idx val="1"/>
          <c:order val="1"/>
          <c:tx>
            <c:strRef>
              <c:f>'Model Fit'!$G$9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G$10:$G$739</c:f>
              <c:numCache>
                <c:formatCode>General</c:formatCode>
                <c:ptCount val="730"/>
                <c:pt idx="0">
                  <c:v>4383.8812521</c:v>
                </c:pt>
                <c:pt idx="1">
                  <c:v>3186.8069435000002</c:v>
                </c:pt>
                <c:pt idx="2">
                  <c:v>3402.8385091</c:v>
                </c:pt>
                <c:pt idx="3">
                  <c:v>5777.5850530999996</c:v>
                </c:pt>
                <c:pt idx="4">
                  <c:v>6826.1657598000002</c:v>
                </c:pt>
                <c:pt idx="5">
                  <c:v>5935.3531843000001</c:v>
                </c:pt>
                <c:pt idx="6">
                  <c:v>3277.9081630999999</c:v>
                </c:pt>
                <c:pt idx="7">
                  <c:v>3349.4768230999998</c:v>
                </c:pt>
                <c:pt idx="8">
                  <c:v>3530.4717873</c:v>
                </c:pt>
                <c:pt idx="9">
                  <c:v>3529.7615206999999</c:v>
                </c:pt>
                <c:pt idx="10">
                  <c:v>5778.0167644000003</c:v>
                </c:pt>
                <c:pt idx="11">
                  <c:v>6788.2407850999998</c:v>
                </c:pt>
                <c:pt idx="12">
                  <c:v>5894.1771259999996</c:v>
                </c:pt>
                <c:pt idx="13">
                  <c:v>3306.9449257000001</c:v>
                </c:pt>
                <c:pt idx="14">
                  <c:v>3337.4281485000001</c:v>
                </c:pt>
                <c:pt idx="15">
                  <c:v>3274.2201427</c:v>
                </c:pt>
                <c:pt idx="16">
                  <c:v>3283.5201625999998</c:v>
                </c:pt>
                <c:pt idx="17">
                  <c:v>5770.6857545000003</c:v>
                </c:pt>
                <c:pt idx="18">
                  <c:v>6699.3209918000002</c:v>
                </c:pt>
                <c:pt idx="19">
                  <c:v>5881.9412302999999</c:v>
                </c:pt>
                <c:pt idx="20">
                  <c:v>3268.8300764999999</c:v>
                </c:pt>
                <c:pt idx="21">
                  <c:v>3304.3115306</c:v>
                </c:pt>
                <c:pt idx="22">
                  <c:v>3289.9129680000001</c:v>
                </c:pt>
                <c:pt idx="23">
                  <c:v>3270.7116640999998</c:v>
                </c:pt>
                <c:pt idx="24">
                  <c:v>5764.2923705000003</c:v>
                </c:pt>
                <c:pt idx="25">
                  <c:v>6940.9568089000004</c:v>
                </c:pt>
                <c:pt idx="26">
                  <c:v>5982.2372028</c:v>
                </c:pt>
                <c:pt idx="27">
                  <c:v>3266.8559270999999</c:v>
                </c:pt>
                <c:pt idx="28">
                  <c:v>3281.0873250999998</c:v>
                </c:pt>
                <c:pt idx="29">
                  <c:v>3284.0474251999999</c:v>
                </c:pt>
                <c:pt idx="30">
                  <c:v>3284.8080165000001</c:v>
                </c:pt>
                <c:pt idx="31">
                  <c:v>5769.5674719999997</c:v>
                </c:pt>
                <c:pt idx="32">
                  <c:v>6834.6105163000002</c:v>
                </c:pt>
                <c:pt idx="33">
                  <c:v>5931.191871</c:v>
                </c:pt>
                <c:pt idx="34">
                  <c:v>3262.1994295999998</c:v>
                </c:pt>
                <c:pt idx="35">
                  <c:v>3268.9858079000001</c:v>
                </c:pt>
                <c:pt idx="36">
                  <c:v>3383.9396855999998</c:v>
                </c:pt>
                <c:pt idx="37">
                  <c:v>3300.3420706000002</c:v>
                </c:pt>
                <c:pt idx="38">
                  <c:v>6359.260843</c:v>
                </c:pt>
                <c:pt idx="39">
                  <c:v>6829.0538214999997</c:v>
                </c:pt>
                <c:pt idx="40">
                  <c:v>5944.8525816000001</c:v>
                </c:pt>
                <c:pt idx="41">
                  <c:v>3262.8369440000001</c:v>
                </c:pt>
                <c:pt idx="42">
                  <c:v>3249.7570916999998</c:v>
                </c:pt>
                <c:pt idx="43">
                  <c:v>3225.4963729000001</c:v>
                </c:pt>
                <c:pt idx="44">
                  <c:v>3270.9753274999998</c:v>
                </c:pt>
                <c:pt idx="45">
                  <c:v>6202.5569928000004</c:v>
                </c:pt>
                <c:pt idx="46">
                  <c:v>6816.1548583000003</c:v>
                </c:pt>
                <c:pt idx="47">
                  <c:v>5920.1245879999997</c:v>
                </c:pt>
                <c:pt idx="48">
                  <c:v>3255.0014113000002</c:v>
                </c:pt>
                <c:pt idx="49">
                  <c:v>3429.4627550999999</c:v>
                </c:pt>
                <c:pt idx="50">
                  <c:v>3328.1370874999998</c:v>
                </c:pt>
                <c:pt idx="51">
                  <c:v>3328.7696968</c:v>
                </c:pt>
                <c:pt idx="52">
                  <c:v>5862.4554976999998</c:v>
                </c:pt>
                <c:pt idx="53">
                  <c:v>6844.4530814</c:v>
                </c:pt>
                <c:pt idx="54">
                  <c:v>5926.7825752999997</c:v>
                </c:pt>
                <c:pt idx="55">
                  <c:v>3322.3179940999999</c:v>
                </c:pt>
                <c:pt idx="56">
                  <c:v>3353.5254690000002</c:v>
                </c:pt>
                <c:pt idx="57">
                  <c:v>3395.7354212999999</c:v>
                </c:pt>
                <c:pt idx="58">
                  <c:v>3444.7184864999999</c:v>
                </c:pt>
                <c:pt idx="59">
                  <c:v>5884.7890326999996</c:v>
                </c:pt>
                <c:pt idx="60">
                  <c:v>6892.554169</c:v>
                </c:pt>
                <c:pt idx="61">
                  <c:v>5886.2761627</c:v>
                </c:pt>
                <c:pt idx="62">
                  <c:v>3323.3073568999998</c:v>
                </c:pt>
                <c:pt idx="63">
                  <c:v>3437.8112464999999</c:v>
                </c:pt>
                <c:pt idx="64">
                  <c:v>3604.0095691000001</c:v>
                </c:pt>
                <c:pt idx="65">
                  <c:v>3343.5647001000002</c:v>
                </c:pt>
                <c:pt idx="66">
                  <c:v>6051.8339864</c:v>
                </c:pt>
                <c:pt idx="67">
                  <c:v>6910.0675696999997</c:v>
                </c:pt>
                <c:pt idx="68">
                  <c:v>6145.2518646999997</c:v>
                </c:pt>
                <c:pt idx="69">
                  <c:v>3346.7697696</c:v>
                </c:pt>
                <c:pt idx="70">
                  <c:v>3362.7662795000001</c:v>
                </c:pt>
                <c:pt idx="71">
                  <c:v>3370.8904253999999</c:v>
                </c:pt>
                <c:pt idx="72">
                  <c:v>3349.0041550999999</c:v>
                </c:pt>
                <c:pt idx="73">
                  <c:v>5833.8784148000004</c:v>
                </c:pt>
                <c:pt idx="74">
                  <c:v>6842.3018034999996</c:v>
                </c:pt>
                <c:pt idx="75">
                  <c:v>7742.3887342999997</c:v>
                </c:pt>
                <c:pt idx="76">
                  <c:v>5078.3929533999999</c:v>
                </c:pt>
                <c:pt idx="77">
                  <c:v>3238.5424687999998</c:v>
                </c:pt>
                <c:pt idx="78">
                  <c:v>3309.7398944000001</c:v>
                </c:pt>
                <c:pt idx="79">
                  <c:v>3356.7409551000001</c:v>
                </c:pt>
                <c:pt idx="80">
                  <c:v>5839.3269406999998</c:v>
                </c:pt>
                <c:pt idx="81">
                  <c:v>6861.0505624999996</c:v>
                </c:pt>
                <c:pt idx="82">
                  <c:v>5976.8215792000001</c:v>
                </c:pt>
                <c:pt idx="83">
                  <c:v>3275.6414294000001</c:v>
                </c:pt>
                <c:pt idx="84">
                  <c:v>3547.4595217000001</c:v>
                </c:pt>
                <c:pt idx="85">
                  <c:v>3322.2787239999998</c:v>
                </c:pt>
                <c:pt idx="86">
                  <c:v>3371.7499974000002</c:v>
                </c:pt>
                <c:pt idx="87">
                  <c:v>5882.4388658999997</c:v>
                </c:pt>
                <c:pt idx="88">
                  <c:v>6884.0577745999999</c:v>
                </c:pt>
                <c:pt idx="89">
                  <c:v>5996.9038485999999</c:v>
                </c:pt>
                <c:pt idx="90">
                  <c:v>3350.9664244999999</c:v>
                </c:pt>
                <c:pt idx="91">
                  <c:v>3361.7856821</c:v>
                </c:pt>
                <c:pt idx="92">
                  <c:v>3365.8616213</c:v>
                </c:pt>
                <c:pt idx="93">
                  <c:v>3362.8213531000001</c:v>
                </c:pt>
                <c:pt idx="94">
                  <c:v>5852.6293490999997</c:v>
                </c:pt>
                <c:pt idx="95">
                  <c:v>6855.8712235000003</c:v>
                </c:pt>
                <c:pt idx="96">
                  <c:v>5955.5204573000001</c:v>
                </c:pt>
                <c:pt idx="97">
                  <c:v>3322.5465583999999</c:v>
                </c:pt>
                <c:pt idx="98">
                  <c:v>3343.6570278999998</c:v>
                </c:pt>
                <c:pt idx="99">
                  <c:v>3362.3925405</c:v>
                </c:pt>
                <c:pt idx="100">
                  <c:v>3365.4265854</c:v>
                </c:pt>
                <c:pt idx="101">
                  <c:v>5845.3716402</c:v>
                </c:pt>
                <c:pt idx="102">
                  <c:v>6853.3967382000001</c:v>
                </c:pt>
                <c:pt idx="103">
                  <c:v>6008.2729423999999</c:v>
                </c:pt>
                <c:pt idx="104">
                  <c:v>3937.6840114000001</c:v>
                </c:pt>
                <c:pt idx="105">
                  <c:v>3703.3604031999998</c:v>
                </c:pt>
                <c:pt idx="106">
                  <c:v>3458.6442493999998</c:v>
                </c:pt>
                <c:pt idx="107">
                  <c:v>3369.8858190000001</c:v>
                </c:pt>
                <c:pt idx="108">
                  <c:v>5883.0502347000001</c:v>
                </c:pt>
                <c:pt idx="109">
                  <c:v>6990.1865323000002</c:v>
                </c:pt>
                <c:pt idx="110">
                  <c:v>6105.8745778000002</c:v>
                </c:pt>
                <c:pt idx="111">
                  <c:v>3519.5195434000002</c:v>
                </c:pt>
                <c:pt idx="112">
                  <c:v>3588.4295049000002</c:v>
                </c:pt>
                <c:pt idx="113">
                  <c:v>3363.0426631</c:v>
                </c:pt>
                <c:pt idx="114">
                  <c:v>3438.1663134999999</c:v>
                </c:pt>
                <c:pt idx="115">
                  <c:v>5882.1739836999996</c:v>
                </c:pt>
                <c:pt idx="116">
                  <c:v>7384.0953468999996</c:v>
                </c:pt>
                <c:pt idx="117">
                  <c:v>6013.7446410000002</c:v>
                </c:pt>
                <c:pt idx="118">
                  <c:v>3368.8511893999998</c:v>
                </c:pt>
                <c:pt idx="119">
                  <c:v>3469.7259917000001</c:v>
                </c:pt>
                <c:pt idx="120">
                  <c:v>3400.7013227000002</c:v>
                </c:pt>
                <c:pt idx="121">
                  <c:v>3503.0549056999998</c:v>
                </c:pt>
                <c:pt idx="122">
                  <c:v>6083.1794395999996</c:v>
                </c:pt>
                <c:pt idx="123">
                  <c:v>7269.2332877999997</c:v>
                </c:pt>
                <c:pt idx="124">
                  <c:v>6130.4179624999997</c:v>
                </c:pt>
                <c:pt idx="125">
                  <c:v>3465.7957492999999</c:v>
                </c:pt>
                <c:pt idx="126">
                  <c:v>3417.1136710000001</c:v>
                </c:pt>
                <c:pt idx="127">
                  <c:v>3397.2182951999998</c:v>
                </c:pt>
                <c:pt idx="128">
                  <c:v>3709.2300980999999</c:v>
                </c:pt>
                <c:pt idx="129">
                  <c:v>5980.0611224000004</c:v>
                </c:pt>
                <c:pt idx="130">
                  <c:v>6934.1059415999998</c:v>
                </c:pt>
                <c:pt idx="131">
                  <c:v>6066.4741891000003</c:v>
                </c:pt>
                <c:pt idx="132">
                  <c:v>3400.7025841</c:v>
                </c:pt>
                <c:pt idx="133">
                  <c:v>3417.9621176000001</c:v>
                </c:pt>
                <c:pt idx="134">
                  <c:v>3434.4350764999999</c:v>
                </c:pt>
                <c:pt idx="135">
                  <c:v>3585.576329</c:v>
                </c:pt>
                <c:pt idx="136">
                  <c:v>5918.2837311000003</c:v>
                </c:pt>
                <c:pt idx="137">
                  <c:v>7020.3732744999998</c:v>
                </c:pt>
                <c:pt idx="138">
                  <c:v>6054.2723257999996</c:v>
                </c:pt>
                <c:pt idx="139">
                  <c:v>3412.8964046999999</c:v>
                </c:pt>
                <c:pt idx="140">
                  <c:v>3434.0159905</c:v>
                </c:pt>
                <c:pt idx="141">
                  <c:v>3426.4347730999998</c:v>
                </c:pt>
                <c:pt idx="142">
                  <c:v>4058.2094572000001</c:v>
                </c:pt>
                <c:pt idx="143">
                  <c:v>5942.9125695000002</c:v>
                </c:pt>
                <c:pt idx="144">
                  <c:v>7027.0466324999998</c:v>
                </c:pt>
                <c:pt idx="145">
                  <c:v>6097.1334736999997</c:v>
                </c:pt>
                <c:pt idx="146">
                  <c:v>3396.8050447999999</c:v>
                </c:pt>
                <c:pt idx="147">
                  <c:v>3846.2717628</c:v>
                </c:pt>
                <c:pt idx="148">
                  <c:v>3732.3374445999998</c:v>
                </c:pt>
                <c:pt idx="149">
                  <c:v>3449.2686540999998</c:v>
                </c:pt>
                <c:pt idx="150">
                  <c:v>5975.3568961000001</c:v>
                </c:pt>
                <c:pt idx="151">
                  <c:v>7352.3709050999996</c:v>
                </c:pt>
                <c:pt idx="152">
                  <c:v>6145.8365518999999</c:v>
                </c:pt>
                <c:pt idx="153">
                  <c:v>3425.2303422999998</c:v>
                </c:pt>
                <c:pt idx="154">
                  <c:v>3503.1318978999998</c:v>
                </c:pt>
                <c:pt idx="155">
                  <c:v>4007.5734720999999</c:v>
                </c:pt>
                <c:pt idx="156">
                  <c:v>3460.8811795000001</c:v>
                </c:pt>
                <c:pt idx="157">
                  <c:v>5995.5832952000001</c:v>
                </c:pt>
                <c:pt idx="158">
                  <c:v>6975.6183016000004</c:v>
                </c:pt>
                <c:pt idx="159">
                  <c:v>6091.0031744999997</c:v>
                </c:pt>
                <c:pt idx="160">
                  <c:v>3438.3760498000001</c:v>
                </c:pt>
                <c:pt idx="161">
                  <c:v>3482.5212246999999</c:v>
                </c:pt>
                <c:pt idx="162">
                  <c:v>3472.5592651000002</c:v>
                </c:pt>
                <c:pt idx="163">
                  <c:v>3610.9643191</c:v>
                </c:pt>
                <c:pt idx="164">
                  <c:v>5984.9753781999998</c:v>
                </c:pt>
                <c:pt idx="165">
                  <c:v>7065.3021588000001</c:v>
                </c:pt>
                <c:pt idx="166">
                  <c:v>6078.2040403000001</c:v>
                </c:pt>
                <c:pt idx="167">
                  <c:v>3480.4848436000002</c:v>
                </c:pt>
                <c:pt idx="168">
                  <c:v>3595.7215384000001</c:v>
                </c:pt>
                <c:pt idx="169">
                  <c:v>3528.1866106000002</c:v>
                </c:pt>
                <c:pt idx="170">
                  <c:v>3502.5737767000001</c:v>
                </c:pt>
                <c:pt idx="171">
                  <c:v>5952.0260082000004</c:v>
                </c:pt>
                <c:pt idx="172">
                  <c:v>6978.7814232000001</c:v>
                </c:pt>
                <c:pt idx="173">
                  <c:v>6095.2074676000002</c:v>
                </c:pt>
                <c:pt idx="174">
                  <c:v>3451.7136787999998</c:v>
                </c:pt>
                <c:pt idx="175">
                  <c:v>3450.4852228</c:v>
                </c:pt>
                <c:pt idx="176">
                  <c:v>3459.6167334000002</c:v>
                </c:pt>
                <c:pt idx="177">
                  <c:v>3572.2811256</c:v>
                </c:pt>
                <c:pt idx="178">
                  <c:v>5907.1597330000004</c:v>
                </c:pt>
                <c:pt idx="179">
                  <c:v>6993.7193686999999</c:v>
                </c:pt>
                <c:pt idx="180">
                  <c:v>6059.7027255000003</c:v>
                </c:pt>
                <c:pt idx="181">
                  <c:v>3418.1421427999999</c:v>
                </c:pt>
                <c:pt idx="182">
                  <c:v>3539.5548045</c:v>
                </c:pt>
                <c:pt idx="183">
                  <c:v>3439.3474123000001</c:v>
                </c:pt>
                <c:pt idx="184">
                  <c:v>3759.3254594</c:v>
                </c:pt>
                <c:pt idx="185">
                  <c:v>5968.2067833999999</c:v>
                </c:pt>
                <c:pt idx="186">
                  <c:v>7271.3431962000004</c:v>
                </c:pt>
                <c:pt idx="187">
                  <c:v>6323.9735019999998</c:v>
                </c:pt>
                <c:pt idx="188">
                  <c:v>3543.2039832</c:v>
                </c:pt>
                <c:pt idx="189">
                  <c:v>3465.9191765999999</c:v>
                </c:pt>
                <c:pt idx="190">
                  <c:v>3707.3550409999998</c:v>
                </c:pt>
                <c:pt idx="191">
                  <c:v>3806.8899203999999</c:v>
                </c:pt>
                <c:pt idx="192">
                  <c:v>6157.5566587000003</c:v>
                </c:pt>
                <c:pt idx="193">
                  <c:v>7174.3339839</c:v>
                </c:pt>
                <c:pt idx="194">
                  <c:v>6078.5063835999999</c:v>
                </c:pt>
                <c:pt idx="195">
                  <c:v>3441.9742701</c:v>
                </c:pt>
                <c:pt idx="196">
                  <c:v>3433.7467695</c:v>
                </c:pt>
                <c:pt idx="197">
                  <c:v>4508.9621705999998</c:v>
                </c:pt>
                <c:pt idx="198">
                  <c:v>5107.0334922000002</c:v>
                </c:pt>
                <c:pt idx="199">
                  <c:v>5978.3534148999997</c:v>
                </c:pt>
                <c:pt idx="200">
                  <c:v>7001.6268244000003</c:v>
                </c:pt>
                <c:pt idx="201">
                  <c:v>6107.6344838000005</c:v>
                </c:pt>
                <c:pt idx="202">
                  <c:v>3448.5006103000001</c:v>
                </c:pt>
                <c:pt idx="203">
                  <c:v>5789.8841978999999</c:v>
                </c:pt>
                <c:pt idx="204">
                  <c:v>6683.8674494999996</c:v>
                </c:pt>
                <c:pt idx="205">
                  <c:v>3455.0602518000001</c:v>
                </c:pt>
                <c:pt idx="206">
                  <c:v>5153.9660574999998</c:v>
                </c:pt>
                <c:pt idx="207">
                  <c:v>5805.5270171000002</c:v>
                </c:pt>
                <c:pt idx="208">
                  <c:v>5193.4651974999997</c:v>
                </c:pt>
                <c:pt idx="209">
                  <c:v>3459.327307</c:v>
                </c:pt>
                <c:pt idx="210">
                  <c:v>3495.3642639999998</c:v>
                </c:pt>
                <c:pt idx="211">
                  <c:v>3473.8182747000001</c:v>
                </c:pt>
                <c:pt idx="212">
                  <c:v>3494.1523360000001</c:v>
                </c:pt>
                <c:pt idx="213">
                  <c:v>5271.3772756999997</c:v>
                </c:pt>
                <c:pt idx="214">
                  <c:v>5767.5340933999996</c:v>
                </c:pt>
                <c:pt idx="215">
                  <c:v>5202.9451547999997</c:v>
                </c:pt>
                <c:pt idx="216">
                  <c:v>3472.6151367000002</c:v>
                </c:pt>
                <c:pt idx="217">
                  <c:v>3646.1269957999998</c:v>
                </c:pt>
                <c:pt idx="218">
                  <c:v>3782.8747487999999</c:v>
                </c:pt>
                <c:pt idx="219">
                  <c:v>3569.9047148</c:v>
                </c:pt>
                <c:pt idx="220">
                  <c:v>5261.4499691000001</c:v>
                </c:pt>
                <c:pt idx="221">
                  <c:v>5827.3645139999999</c:v>
                </c:pt>
                <c:pt idx="222">
                  <c:v>5216.7074235</c:v>
                </c:pt>
                <c:pt idx="223">
                  <c:v>3498.8865605999999</c:v>
                </c:pt>
                <c:pt idx="224">
                  <c:v>3500.3547653999999</c:v>
                </c:pt>
                <c:pt idx="225">
                  <c:v>3491.2165743999999</c:v>
                </c:pt>
                <c:pt idx="226">
                  <c:v>3497.2128536</c:v>
                </c:pt>
                <c:pt idx="227">
                  <c:v>5120.6273450999997</c:v>
                </c:pt>
                <c:pt idx="228">
                  <c:v>5774.6154183999997</c:v>
                </c:pt>
                <c:pt idx="229">
                  <c:v>5190.1658047000001</c:v>
                </c:pt>
                <c:pt idx="230">
                  <c:v>3539.1865094999998</c:v>
                </c:pt>
                <c:pt idx="231">
                  <c:v>3777.4911855999999</c:v>
                </c:pt>
                <c:pt idx="232">
                  <c:v>3491.1424631</c:v>
                </c:pt>
                <c:pt idx="233">
                  <c:v>3467.3911885000002</c:v>
                </c:pt>
                <c:pt idx="234">
                  <c:v>5088.5627916000003</c:v>
                </c:pt>
                <c:pt idx="235">
                  <c:v>5785.8216050999999</c:v>
                </c:pt>
                <c:pt idx="236">
                  <c:v>5412.8418270000002</c:v>
                </c:pt>
                <c:pt idx="237">
                  <c:v>3466.1340532999998</c:v>
                </c:pt>
                <c:pt idx="238">
                  <c:v>3490.965741</c:v>
                </c:pt>
                <c:pt idx="239">
                  <c:v>3498.8691475000001</c:v>
                </c:pt>
                <c:pt idx="240">
                  <c:v>3505.2936527000002</c:v>
                </c:pt>
                <c:pt idx="241">
                  <c:v>5129.6730760999999</c:v>
                </c:pt>
                <c:pt idx="242">
                  <c:v>5801.8304218000003</c:v>
                </c:pt>
                <c:pt idx="243">
                  <c:v>5163.7711227</c:v>
                </c:pt>
                <c:pt idx="244">
                  <c:v>3862.4320914999998</c:v>
                </c:pt>
                <c:pt idx="245">
                  <c:v>3611.9203406000001</c:v>
                </c:pt>
                <c:pt idx="246">
                  <c:v>3504.2663685000002</c:v>
                </c:pt>
                <c:pt idx="247">
                  <c:v>3821.3103682000001</c:v>
                </c:pt>
                <c:pt idx="248">
                  <c:v>5542.3440332999999</c:v>
                </c:pt>
                <c:pt idx="249">
                  <c:v>5778.7371272999999</c:v>
                </c:pt>
                <c:pt idx="250">
                  <c:v>5335.3945346999999</c:v>
                </c:pt>
                <c:pt idx="251">
                  <c:v>3565.2551502000001</c:v>
                </c:pt>
                <c:pt idx="252">
                  <c:v>3198.719032</c:v>
                </c:pt>
                <c:pt idx="253">
                  <c:v>3271.2501652999999</c:v>
                </c:pt>
                <c:pt idx="254">
                  <c:v>3216.2437281000002</c:v>
                </c:pt>
                <c:pt idx="255">
                  <c:v>4959.8071355000002</c:v>
                </c:pt>
                <c:pt idx="256">
                  <c:v>5729.9789008999996</c:v>
                </c:pt>
                <c:pt idx="257">
                  <c:v>5151.0807807000001</c:v>
                </c:pt>
                <c:pt idx="258">
                  <c:v>3544.1558024000001</c:v>
                </c:pt>
                <c:pt idx="259">
                  <c:v>3586.7392069000002</c:v>
                </c:pt>
                <c:pt idx="260">
                  <c:v>3568.2136888999999</c:v>
                </c:pt>
                <c:pt idx="261">
                  <c:v>3614.1314631999999</c:v>
                </c:pt>
                <c:pt idx="262">
                  <c:v>5257.5265502000002</c:v>
                </c:pt>
                <c:pt idx="263">
                  <c:v>5958.5183094000004</c:v>
                </c:pt>
                <c:pt idx="264">
                  <c:v>5436.0264289999996</c:v>
                </c:pt>
                <c:pt idx="265">
                  <c:v>3650.0532325999998</c:v>
                </c:pt>
                <c:pt idx="266">
                  <c:v>3525.0844719000002</c:v>
                </c:pt>
                <c:pt idx="267">
                  <c:v>3528.0924479</c:v>
                </c:pt>
                <c:pt idx="268">
                  <c:v>3624.5441710999999</c:v>
                </c:pt>
                <c:pt idx="269">
                  <c:v>5442.2594101000004</c:v>
                </c:pt>
                <c:pt idx="270">
                  <c:v>5806.4393682999998</c:v>
                </c:pt>
                <c:pt idx="271">
                  <c:v>5201.3980312000003</c:v>
                </c:pt>
                <c:pt idx="272">
                  <c:v>3505.1592565999999</c:v>
                </c:pt>
                <c:pt idx="273">
                  <c:v>3645.1595493999998</c:v>
                </c:pt>
                <c:pt idx="274">
                  <c:v>3406.90589</c:v>
                </c:pt>
                <c:pt idx="275">
                  <c:v>3408.3218379999998</c:v>
                </c:pt>
                <c:pt idx="276">
                  <c:v>4931.2071905000003</c:v>
                </c:pt>
                <c:pt idx="277">
                  <c:v>5783.2287509999996</c:v>
                </c:pt>
                <c:pt idx="278">
                  <c:v>5046.6423297000001</c:v>
                </c:pt>
                <c:pt idx="279">
                  <c:v>1813.5485039</c:v>
                </c:pt>
                <c:pt idx="280">
                  <c:v>1502.8258086999999</c:v>
                </c:pt>
                <c:pt idx="281">
                  <c:v>1313.3834756000001</c:v>
                </c:pt>
                <c:pt idx="282">
                  <c:v>1225.8679213999999</c:v>
                </c:pt>
                <c:pt idx="283">
                  <c:v>1189.9713799000001</c:v>
                </c:pt>
                <c:pt idx="284">
                  <c:v>1421.8821605000001</c:v>
                </c:pt>
                <c:pt idx="285">
                  <c:v>1251.3858493</c:v>
                </c:pt>
                <c:pt idx="286">
                  <c:v>760.53504650000002</c:v>
                </c:pt>
                <c:pt idx="287">
                  <c:v>513.25127810000004</c:v>
                </c:pt>
                <c:pt idx="288">
                  <c:v>428.9377738</c:v>
                </c:pt>
                <c:pt idx="289">
                  <c:v>393.3630771</c:v>
                </c:pt>
                <c:pt idx="290">
                  <c:v>392.83916260000001</c:v>
                </c:pt>
                <c:pt idx="291">
                  <c:v>693.74608599999999</c:v>
                </c:pt>
                <c:pt idx="292">
                  <c:v>695.73829409999996</c:v>
                </c:pt>
                <c:pt idx="293">
                  <c:v>338.28827310000003</c:v>
                </c:pt>
                <c:pt idx="294">
                  <c:v>335.14105929999999</c:v>
                </c:pt>
                <c:pt idx="295">
                  <c:v>341.21510769999998</c:v>
                </c:pt>
                <c:pt idx="296">
                  <c:v>315.81443289999999</c:v>
                </c:pt>
                <c:pt idx="297">
                  <c:v>342.52772540000001</c:v>
                </c:pt>
                <c:pt idx="298">
                  <c:v>684.85976370000003</c:v>
                </c:pt>
                <c:pt idx="299">
                  <c:v>693.46004630000004</c:v>
                </c:pt>
                <c:pt idx="300">
                  <c:v>312.63260439999999</c:v>
                </c:pt>
                <c:pt idx="301">
                  <c:v>305.25722880000001</c:v>
                </c:pt>
                <c:pt idx="302">
                  <c:v>288.25433820000001</c:v>
                </c:pt>
                <c:pt idx="303">
                  <c:v>281.650126</c:v>
                </c:pt>
                <c:pt idx="304">
                  <c:v>114.9619328</c:v>
                </c:pt>
                <c:pt idx="305">
                  <c:v>634.21279579999998</c:v>
                </c:pt>
                <c:pt idx="306">
                  <c:v>611.19502039999998</c:v>
                </c:pt>
                <c:pt idx="307">
                  <c:v>98.304154199999999</c:v>
                </c:pt>
                <c:pt idx="308">
                  <c:v>354.85709700000001</c:v>
                </c:pt>
                <c:pt idx="309">
                  <c:v>354.83011420000003</c:v>
                </c:pt>
                <c:pt idx="310">
                  <c:v>343.0582771</c:v>
                </c:pt>
                <c:pt idx="311">
                  <c:v>368.72474829999999</c:v>
                </c:pt>
                <c:pt idx="312">
                  <c:v>1294.3913972</c:v>
                </c:pt>
                <c:pt idx="313">
                  <c:v>850.42512309999995</c:v>
                </c:pt>
                <c:pt idx="314">
                  <c:v>368.3742191</c:v>
                </c:pt>
                <c:pt idx="315">
                  <c:v>374.1960952</c:v>
                </c:pt>
                <c:pt idx="316">
                  <c:v>389.23906119999998</c:v>
                </c:pt>
                <c:pt idx="317">
                  <c:v>375.60697729999998</c:v>
                </c:pt>
                <c:pt idx="318">
                  <c:v>407.39008749999999</c:v>
                </c:pt>
                <c:pt idx="319">
                  <c:v>840.73149909999995</c:v>
                </c:pt>
                <c:pt idx="320">
                  <c:v>871.32656910000003</c:v>
                </c:pt>
                <c:pt idx="321">
                  <c:v>417.38396060000002</c:v>
                </c:pt>
                <c:pt idx="322">
                  <c:v>511.88480779999998</c:v>
                </c:pt>
                <c:pt idx="323">
                  <c:v>793.0470712</c:v>
                </c:pt>
                <c:pt idx="324">
                  <c:v>494.1542748</c:v>
                </c:pt>
                <c:pt idx="325">
                  <c:v>611.09942100000001</c:v>
                </c:pt>
                <c:pt idx="326">
                  <c:v>923.85342779999996</c:v>
                </c:pt>
                <c:pt idx="327">
                  <c:v>933.49347439999997</c:v>
                </c:pt>
                <c:pt idx="328">
                  <c:v>464.53848820000002</c:v>
                </c:pt>
                <c:pt idx="329">
                  <c:v>460.0260945</c:v>
                </c:pt>
                <c:pt idx="330">
                  <c:v>476.2206521</c:v>
                </c:pt>
                <c:pt idx="331">
                  <c:v>452.30708670000001</c:v>
                </c:pt>
                <c:pt idx="332">
                  <c:v>214.62571080000001</c:v>
                </c:pt>
                <c:pt idx="333">
                  <c:v>887.44859840000004</c:v>
                </c:pt>
                <c:pt idx="334">
                  <c:v>952.6687574</c:v>
                </c:pt>
                <c:pt idx="335">
                  <c:v>504.6527911</c:v>
                </c:pt>
                <c:pt idx="336">
                  <c:v>512.94779659999995</c:v>
                </c:pt>
                <c:pt idx="337">
                  <c:v>521.57205820000001</c:v>
                </c:pt>
                <c:pt idx="338">
                  <c:v>527.54559659999995</c:v>
                </c:pt>
                <c:pt idx="339">
                  <c:v>544.49351690000003</c:v>
                </c:pt>
                <c:pt idx="340">
                  <c:v>1023.3639621999999</c:v>
                </c:pt>
                <c:pt idx="341">
                  <c:v>1085.3386504</c:v>
                </c:pt>
                <c:pt idx="342">
                  <c:v>511.64532380000003</c:v>
                </c:pt>
                <c:pt idx="343">
                  <c:v>500.58318209999999</c:v>
                </c:pt>
                <c:pt idx="344">
                  <c:v>495.02816790000003</c:v>
                </c:pt>
                <c:pt idx="345">
                  <c:v>494.36715450000003</c:v>
                </c:pt>
                <c:pt idx="346">
                  <c:v>552.48528180000005</c:v>
                </c:pt>
                <c:pt idx="347">
                  <c:v>1094.1545257</c:v>
                </c:pt>
                <c:pt idx="348">
                  <c:v>1127.5533284999999</c:v>
                </c:pt>
                <c:pt idx="349">
                  <c:v>162.51683800000001</c:v>
                </c:pt>
                <c:pt idx="350">
                  <c:v>523.05191479999996</c:v>
                </c:pt>
                <c:pt idx="351">
                  <c:v>545.78527799999995</c:v>
                </c:pt>
                <c:pt idx="352">
                  <c:v>566.81496149999998</c:v>
                </c:pt>
                <c:pt idx="353">
                  <c:v>611.96207649999997</c:v>
                </c:pt>
                <c:pt idx="354">
                  <c:v>1329.9359697</c:v>
                </c:pt>
                <c:pt idx="355">
                  <c:v>1357.7182005</c:v>
                </c:pt>
                <c:pt idx="356">
                  <c:v>623.38595169999996</c:v>
                </c:pt>
                <c:pt idx="357">
                  <c:v>622.22805860000005</c:v>
                </c:pt>
                <c:pt idx="358">
                  <c:v>639.85975410000003</c:v>
                </c:pt>
                <c:pt idx="359">
                  <c:v>684.78394109999999</c:v>
                </c:pt>
                <c:pt idx="360">
                  <c:v>702.79922599999998</c:v>
                </c:pt>
                <c:pt idx="361">
                  <c:v>1359.0847776999999</c:v>
                </c:pt>
                <c:pt idx="362">
                  <c:v>1683.8034130000001</c:v>
                </c:pt>
                <c:pt idx="363">
                  <c:v>767.31152440000005</c:v>
                </c:pt>
                <c:pt idx="364">
                  <c:v>697.98986060000004</c:v>
                </c:pt>
                <c:pt idx="365">
                  <c:v>697.27641940000001</c:v>
                </c:pt>
                <c:pt idx="366">
                  <c:v>864.60743879999995</c:v>
                </c:pt>
                <c:pt idx="367">
                  <c:v>763.63087189999999</c:v>
                </c:pt>
                <c:pt idx="368">
                  <c:v>1571.9609917</c:v>
                </c:pt>
                <c:pt idx="369">
                  <c:v>1579.2173175</c:v>
                </c:pt>
                <c:pt idx="370">
                  <c:v>736.67457920000004</c:v>
                </c:pt>
                <c:pt idx="371">
                  <c:v>755.05635259999997</c:v>
                </c:pt>
                <c:pt idx="372">
                  <c:v>731.06752540000002</c:v>
                </c:pt>
                <c:pt idx="373">
                  <c:v>1070.7077088999999</c:v>
                </c:pt>
                <c:pt idx="374">
                  <c:v>1101.413691</c:v>
                </c:pt>
                <c:pt idx="375">
                  <c:v>1604.8756671000001</c:v>
                </c:pt>
                <c:pt idx="376">
                  <c:v>1654.8767858000001</c:v>
                </c:pt>
                <c:pt idx="377">
                  <c:v>744.99184620000005</c:v>
                </c:pt>
                <c:pt idx="378">
                  <c:v>702.4538192</c:v>
                </c:pt>
                <c:pt idx="379">
                  <c:v>714.97842939999998</c:v>
                </c:pt>
                <c:pt idx="380">
                  <c:v>691.06060249999996</c:v>
                </c:pt>
                <c:pt idx="381">
                  <c:v>740.39873350000005</c:v>
                </c:pt>
                <c:pt idx="382">
                  <c:v>1598.432877</c:v>
                </c:pt>
                <c:pt idx="383">
                  <c:v>1676.2728227</c:v>
                </c:pt>
                <c:pt idx="384">
                  <c:v>847.04718590000004</c:v>
                </c:pt>
                <c:pt idx="385">
                  <c:v>773.85541320000004</c:v>
                </c:pt>
                <c:pt idx="386">
                  <c:v>802.98834929999998</c:v>
                </c:pt>
                <c:pt idx="387">
                  <c:v>844.65992359999996</c:v>
                </c:pt>
                <c:pt idx="388">
                  <c:v>901.79514400000005</c:v>
                </c:pt>
                <c:pt idx="389">
                  <c:v>1732.9141092</c:v>
                </c:pt>
                <c:pt idx="390">
                  <c:v>1692.6314993000001</c:v>
                </c:pt>
                <c:pt idx="391">
                  <c:v>2071.1005012000001</c:v>
                </c:pt>
                <c:pt idx="392">
                  <c:v>2060.5087873000002</c:v>
                </c:pt>
                <c:pt idx="393">
                  <c:v>2331.4993915999999</c:v>
                </c:pt>
                <c:pt idx="394">
                  <c:v>2171.0133903000001</c:v>
                </c:pt>
                <c:pt idx="395">
                  <c:v>3883.5158836000001</c:v>
                </c:pt>
                <c:pt idx="396">
                  <c:v>5299.6661432000001</c:v>
                </c:pt>
                <c:pt idx="397">
                  <c:v>4786.3770692999997</c:v>
                </c:pt>
                <c:pt idx="398">
                  <c:v>2093.5427113000001</c:v>
                </c:pt>
                <c:pt idx="399">
                  <c:v>2125.8808786</c:v>
                </c:pt>
                <c:pt idx="400">
                  <c:v>2144.6895491</c:v>
                </c:pt>
                <c:pt idx="401">
                  <c:v>2127.3149091</c:v>
                </c:pt>
                <c:pt idx="402">
                  <c:v>3777.5766514000002</c:v>
                </c:pt>
                <c:pt idx="403">
                  <c:v>5307.6206627000001</c:v>
                </c:pt>
                <c:pt idx="404">
                  <c:v>4775.0590714</c:v>
                </c:pt>
                <c:pt idx="405">
                  <c:v>2145.4852437</c:v>
                </c:pt>
                <c:pt idx="406">
                  <c:v>2118.0554830999999</c:v>
                </c:pt>
                <c:pt idx="407">
                  <c:v>2110.9877212000001</c:v>
                </c:pt>
                <c:pt idx="408">
                  <c:v>2100.3062553999998</c:v>
                </c:pt>
                <c:pt idx="409">
                  <c:v>3766.4367954999998</c:v>
                </c:pt>
                <c:pt idx="410">
                  <c:v>5275.1892601</c:v>
                </c:pt>
                <c:pt idx="411">
                  <c:v>5074.1896982999997</c:v>
                </c:pt>
                <c:pt idx="412">
                  <c:v>2107.0249779000001</c:v>
                </c:pt>
                <c:pt idx="413">
                  <c:v>2138.1339444</c:v>
                </c:pt>
                <c:pt idx="414">
                  <c:v>2074.600093</c:v>
                </c:pt>
                <c:pt idx="415">
                  <c:v>2019.4451145999999</c:v>
                </c:pt>
                <c:pt idx="416">
                  <c:v>3473.7028900999999</c:v>
                </c:pt>
                <c:pt idx="417">
                  <c:v>5188.9226058000004</c:v>
                </c:pt>
                <c:pt idx="418">
                  <c:v>4781.9462030000004</c:v>
                </c:pt>
                <c:pt idx="419">
                  <c:v>2035.3802178999999</c:v>
                </c:pt>
                <c:pt idx="420">
                  <c:v>2057.0247076999999</c:v>
                </c:pt>
                <c:pt idx="421">
                  <c:v>2075.3169278</c:v>
                </c:pt>
                <c:pt idx="422">
                  <c:v>2047.6429840999999</c:v>
                </c:pt>
                <c:pt idx="423">
                  <c:v>3670.0390219000001</c:v>
                </c:pt>
                <c:pt idx="424">
                  <c:v>5256.7985896</c:v>
                </c:pt>
                <c:pt idx="425">
                  <c:v>4790.5810559000001</c:v>
                </c:pt>
                <c:pt idx="426">
                  <c:v>1978.9026322</c:v>
                </c:pt>
                <c:pt idx="427">
                  <c:v>1976.8380924000001</c:v>
                </c:pt>
                <c:pt idx="428">
                  <c:v>2025.2905784</c:v>
                </c:pt>
                <c:pt idx="429">
                  <c:v>2052.4882507000002</c:v>
                </c:pt>
                <c:pt idx="430">
                  <c:v>3825.5153534000001</c:v>
                </c:pt>
                <c:pt idx="431">
                  <c:v>5305.7155856999998</c:v>
                </c:pt>
                <c:pt idx="432">
                  <c:v>4794.0288112999997</c:v>
                </c:pt>
                <c:pt idx="433">
                  <c:v>2077.9213945000001</c:v>
                </c:pt>
                <c:pt idx="434">
                  <c:v>2208.0196500000002</c:v>
                </c:pt>
                <c:pt idx="435">
                  <c:v>2189.9188743999998</c:v>
                </c:pt>
                <c:pt idx="436">
                  <c:v>2520.6896852</c:v>
                </c:pt>
                <c:pt idx="437">
                  <c:v>3756.2450331999999</c:v>
                </c:pt>
                <c:pt idx="438">
                  <c:v>5347.1092369999997</c:v>
                </c:pt>
                <c:pt idx="439">
                  <c:v>4865.1186909999997</c:v>
                </c:pt>
                <c:pt idx="440">
                  <c:v>2089.9279820000002</c:v>
                </c:pt>
                <c:pt idx="441">
                  <c:v>2440.9927409000002</c:v>
                </c:pt>
                <c:pt idx="442">
                  <c:v>2240.4451815000002</c:v>
                </c:pt>
                <c:pt idx="443">
                  <c:v>2113.2418641999998</c:v>
                </c:pt>
                <c:pt idx="444">
                  <c:v>4545.0164736999996</c:v>
                </c:pt>
                <c:pt idx="445">
                  <c:v>7357.7692981</c:v>
                </c:pt>
                <c:pt idx="446">
                  <c:v>6680.1832949999998</c:v>
                </c:pt>
                <c:pt idx="447">
                  <c:v>3494.2658664</c:v>
                </c:pt>
                <c:pt idx="448">
                  <c:v>2107.4554109999999</c:v>
                </c:pt>
                <c:pt idx="449">
                  <c:v>2167.2778545000001</c:v>
                </c:pt>
                <c:pt idx="450">
                  <c:v>2181.5257465999998</c:v>
                </c:pt>
                <c:pt idx="451">
                  <c:v>3900.420091</c:v>
                </c:pt>
                <c:pt idx="452">
                  <c:v>5371.0663795999999</c:v>
                </c:pt>
                <c:pt idx="453">
                  <c:v>4839.5932114999996</c:v>
                </c:pt>
                <c:pt idx="454">
                  <c:v>2148.9471884</c:v>
                </c:pt>
                <c:pt idx="455">
                  <c:v>2151.4602663000001</c:v>
                </c:pt>
                <c:pt idx="456">
                  <c:v>2227.7143030000002</c:v>
                </c:pt>
                <c:pt idx="457">
                  <c:v>2235.2701274000001</c:v>
                </c:pt>
                <c:pt idx="458">
                  <c:v>3894.4797947000002</c:v>
                </c:pt>
                <c:pt idx="459">
                  <c:v>5366.8247125999997</c:v>
                </c:pt>
                <c:pt idx="460">
                  <c:v>4823.2379963000003</c:v>
                </c:pt>
                <c:pt idx="461">
                  <c:v>2255.4852409999999</c:v>
                </c:pt>
                <c:pt idx="462">
                  <c:v>2257.9025944</c:v>
                </c:pt>
                <c:pt idx="463">
                  <c:v>2282.9135074999999</c:v>
                </c:pt>
                <c:pt idx="464">
                  <c:v>2297.6579869000002</c:v>
                </c:pt>
                <c:pt idx="465">
                  <c:v>3968.8352794000002</c:v>
                </c:pt>
                <c:pt idx="466">
                  <c:v>5353.2764071000001</c:v>
                </c:pt>
                <c:pt idx="467">
                  <c:v>4833.8960874000004</c:v>
                </c:pt>
                <c:pt idx="468">
                  <c:v>2260.5240128999999</c:v>
                </c:pt>
                <c:pt idx="469">
                  <c:v>2283.3426825000001</c:v>
                </c:pt>
                <c:pt idx="470">
                  <c:v>2360.3303990999998</c:v>
                </c:pt>
                <c:pt idx="471">
                  <c:v>2569.8663230000002</c:v>
                </c:pt>
                <c:pt idx="472">
                  <c:v>4078.8923973000001</c:v>
                </c:pt>
                <c:pt idx="473">
                  <c:v>5401.9111142000002</c:v>
                </c:pt>
                <c:pt idx="474">
                  <c:v>4818.2677629999998</c:v>
                </c:pt>
                <c:pt idx="475">
                  <c:v>2338.5816657</c:v>
                </c:pt>
                <c:pt idx="476">
                  <c:v>2389.0130430999998</c:v>
                </c:pt>
                <c:pt idx="477">
                  <c:v>2353.2453535</c:v>
                </c:pt>
                <c:pt idx="478">
                  <c:v>2517.0396171000002</c:v>
                </c:pt>
                <c:pt idx="479">
                  <c:v>4107.0790605000002</c:v>
                </c:pt>
                <c:pt idx="480">
                  <c:v>6300.8214453999999</c:v>
                </c:pt>
                <c:pt idx="481">
                  <c:v>5756.9330762999998</c:v>
                </c:pt>
                <c:pt idx="482">
                  <c:v>2518.9770606000002</c:v>
                </c:pt>
                <c:pt idx="483">
                  <c:v>2473.9322293999999</c:v>
                </c:pt>
                <c:pt idx="484">
                  <c:v>2416.3182075999998</c:v>
                </c:pt>
                <c:pt idx="485">
                  <c:v>2495.2240007999999</c:v>
                </c:pt>
                <c:pt idx="486">
                  <c:v>4073.0819391</c:v>
                </c:pt>
                <c:pt idx="487">
                  <c:v>5519.8944136</c:v>
                </c:pt>
                <c:pt idx="488">
                  <c:v>4889.0720130999998</c:v>
                </c:pt>
                <c:pt idx="489">
                  <c:v>2381.1659989</c:v>
                </c:pt>
                <c:pt idx="490">
                  <c:v>2509.9245799999999</c:v>
                </c:pt>
                <c:pt idx="491">
                  <c:v>2522.5232646999998</c:v>
                </c:pt>
                <c:pt idx="492">
                  <c:v>2491.9028023000001</c:v>
                </c:pt>
                <c:pt idx="493">
                  <c:v>4111.4264966999999</c:v>
                </c:pt>
                <c:pt idx="494">
                  <c:v>5430.8139860000001</c:v>
                </c:pt>
                <c:pt idx="495">
                  <c:v>4871.7514370999997</c:v>
                </c:pt>
                <c:pt idx="496">
                  <c:v>2378.8635611</c:v>
                </c:pt>
                <c:pt idx="497">
                  <c:v>2413.0243777999999</c:v>
                </c:pt>
                <c:pt idx="498">
                  <c:v>2503.5958387000001</c:v>
                </c:pt>
                <c:pt idx="499">
                  <c:v>2838.8096578999998</c:v>
                </c:pt>
                <c:pt idx="500">
                  <c:v>4045.9189243000001</c:v>
                </c:pt>
                <c:pt idx="501">
                  <c:v>5416.0530418999997</c:v>
                </c:pt>
                <c:pt idx="502">
                  <c:v>5566.3061981000001</c:v>
                </c:pt>
                <c:pt idx="503">
                  <c:v>2247.5248723</c:v>
                </c:pt>
                <c:pt idx="504">
                  <c:v>2225.0038307</c:v>
                </c:pt>
                <c:pt idx="505">
                  <c:v>2289.0849346999998</c:v>
                </c:pt>
                <c:pt idx="506">
                  <c:v>2269.5521809000002</c:v>
                </c:pt>
                <c:pt idx="507">
                  <c:v>3951.1546357000002</c:v>
                </c:pt>
                <c:pt idx="508">
                  <c:v>5902.7905422000003</c:v>
                </c:pt>
                <c:pt idx="509">
                  <c:v>5063.1195741000001</c:v>
                </c:pt>
                <c:pt idx="510">
                  <c:v>2378.8164492000001</c:v>
                </c:pt>
                <c:pt idx="511">
                  <c:v>2484.0005160999999</c:v>
                </c:pt>
                <c:pt idx="512">
                  <c:v>2465.9765650999998</c:v>
                </c:pt>
                <c:pt idx="513">
                  <c:v>1391.6824686</c:v>
                </c:pt>
                <c:pt idx="514">
                  <c:v>1056.2313197000001</c:v>
                </c:pt>
                <c:pt idx="515">
                  <c:v>1462.2170368</c:v>
                </c:pt>
                <c:pt idx="516">
                  <c:v>1375.9742137999999</c:v>
                </c:pt>
                <c:pt idx="517">
                  <c:v>1040.9361531</c:v>
                </c:pt>
                <c:pt idx="518">
                  <c:v>1196.457126</c:v>
                </c:pt>
                <c:pt idx="519">
                  <c:v>1002.3175829</c:v>
                </c:pt>
                <c:pt idx="520">
                  <c:v>1203.9072616000001</c:v>
                </c:pt>
                <c:pt idx="521">
                  <c:v>1026.5171653</c:v>
                </c:pt>
                <c:pt idx="522">
                  <c:v>1425.5161040999999</c:v>
                </c:pt>
                <c:pt idx="523">
                  <c:v>1897.5761766000001</c:v>
                </c:pt>
                <c:pt idx="524">
                  <c:v>1187.0964323000001</c:v>
                </c:pt>
                <c:pt idx="525">
                  <c:v>993.78818899999999</c:v>
                </c:pt>
                <c:pt idx="526">
                  <c:v>1006.4067427</c:v>
                </c:pt>
                <c:pt idx="527">
                  <c:v>1024.6499491</c:v>
                </c:pt>
                <c:pt idx="528">
                  <c:v>1053.2983859999999</c:v>
                </c:pt>
                <c:pt idx="529">
                  <c:v>1485.6206095</c:v>
                </c:pt>
                <c:pt idx="530">
                  <c:v>1437.6696205000001</c:v>
                </c:pt>
                <c:pt idx="531">
                  <c:v>1027.8826859999999</c:v>
                </c:pt>
                <c:pt idx="532">
                  <c:v>999.14262859999997</c:v>
                </c:pt>
                <c:pt idx="533">
                  <c:v>1031.8742522</c:v>
                </c:pt>
                <c:pt idx="534">
                  <c:v>1039.2017258000001</c:v>
                </c:pt>
                <c:pt idx="535">
                  <c:v>1073.7871459</c:v>
                </c:pt>
                <c:pt idx="536">
                  <c:v>1527.3215625</c:v>
                </c:pt>
                <c:pt idx="537">
                  <c:v>1461.736985</c:v>
                </c:pt>
                <c:pt idx="538">
                  <c:v>1039.9130024000001</c:v>
                </c:pt>
                <c:pt idx="539">
                  <c:v>1077.2670677999999</c:v>
                </c:pt>
                <c:pt idx="540">
                  <c:v>1210.6016523000001</c:v>
                </c:pt>
                <c:pt idx="541">
                  <c:v>1133.2519772999999</c:v>
                </c:pt>
                <c:pt idx="542">
                  <c:v>1654.2508378</c:v>
                </c:pt>
                <c:pt idx="543">
                  <c:v>5449.5045447000002</c:v>
                </c:pt>
                <c:pt idx="544">
                  <c:v>4867.9423975</c:v>
                </c:pt>
                <c:pt idx="545">
                  <c:v>2432.7163313000001</c:v>
                </c:pt>
                <c:pt idx="546">
                  <c:v>2568.3140041000001</c:v>
                </c:pt>
                <c:pt idx="547">
                  <c:v>2513.4685785000001</c:v>
                </c:pt>
                <c:pt idx="548">
                  <c:v>2424.5079842</c:v>
                </c:pt>
                <c:pt idx="549">
                  <c:v>4323.5112638000001</c:v>
                </c:pt>
                <c:pt idx="550">
                  <c:v>5439.1271574000002</c:v>
                </c:pt>
                <c:pt idx="551">
                  <c:v>4814.8425500000003</c:v>
                </c:pt>
                <c:pt idx="552">
                  <c:v>2486.0951286</c:v>
                </c:pt>
                <c:pt idx="553">
                  <c:v>2393.4191781999998</c:v>
                </c:pt>
                <c:pt idx="554">
                  <c:v>2336.5526086</c:v>
                </c:pt>
                <c:pt idx="555">
                  <c:v>2393.6690271000002</c:v>
                </c:pt>
                <c:pt idx="556">
                  <c:v>3847.2008025</c:v>
                </c:pt>
                <c:pt idx="557">
                  <c:v>5315.7686888999997</c:v>
                </c:pt>
                <c:pt idx="558">
                  <c:v>4832.4806549000004</c:v>
                </c:pt>
                <c:pt idx="559">
                  <c:v>1980.9219203</c:v>
                </c:pt>
                <c:pt idx="560">
                  <c:v>2025.1065822999999</c:v>
                </c:pt>
                <c:pt idx="561">
                  <c:v>1938.9105709</c:v>
                </c:pt>
                <c:pt idx="562">
                  <c:v>1864.8529223999999</c:v>
                </c:pt>
                <c:pt idx="563">
                  <c:v>4126.5304620999996</c:v>
                </c:pt>
                <c:pt idx="564">
                  <c:v>6065.9713930999997</c:v>
                </c:pt>
                <c:pt idx="565">
                  <c:v>4757.6972648000001</c:v>
                </c:pt>
                <c:pt idx="566">
                  <c:v>1717.282778</c:v>
                </c:pt>
                <c:pt idx="567">
                  <c:v>1826.0915325999999</c:v>
                </c:pt>
                <c:pt idx="568">
                  <c:v>1862.9457603000001</c:v>
                </c:pt>
                <c:pt idx="569">
                  <c:v>4119.1144591000002</c:v>
                </c:pt>
                <c:pt idx="570">
                  <c:v>6011.7050646999996</c:v>
                </c:pt>
                <c:pt idx="571">
                  <c:v>4370.2907348999997</c:v>
                </c:pt>
                <c:pt idx="572">
                  <c:v>4079.3775031999999</c:v>
                </c:pt>
                <c:pt idx="573">
                  <c:v>2061.8834531000002</c:v>
                </c:pt>
                <c:pt idx="574">
                  <c:v>751.47183610000002</c:v>
                </c:pt>
                <c:pt idx="575">
                  <c:v>785.46718239999996</c:v>
                </c:pt>
                <c:pt idx="576">
                  <c:v>778.81888149999997</c:v>
                </c:pt>
                <c:pt idx="577">
                  <c:v>809.42533379999998</c:v>
                </c:pt>
                <c:pt idx="578">
                  <c:v>1406.1370712</c:v>
                </c:pt>
                <c:pt idx="579">
                  <c:v>1376.9557557000001</c:v>
                </c:pt>
                <c:pt idx="580">
                  <c:v>735.62545120000004</c:v>
                </c:pt>
                <c:pt idx="581">
                  <c:v>879.8188778</c:v>
                </c:pt>
                <c:pt idx="582">
                  <c:v>762.9306272</c:v>
                </c:pt>
                <c:pt idx="583">
                  <c:v>920.17076259999999</c:v>
                </c:pt>
                <c:pt idx="584">
                  <c:v>1078.6148274</c:v>
                </c:pt>
                <c:pt idx="585">
                  <c:v>1320.3687672999999</c:v>
                </c:pt>
                <c:pt idx="586">
                  <c:v>1533.0997015999999</c:v>
                </c:pt>
                <c:pt idx="587">
                  <c:v>733.11982350000005</c:v>
                </c:pt>
                <c:pt idx="588">
                  <c:v>753.73344799999995</c:v>
                </c:pt>
                <c:pt idx="589">
                  <c:v>722.85332149999999</c:v>
                </c:pt>
                <c:pt idx="590">
                  <c:v>942.7203773</c:v>
                </c:pt>
                <c:pt idx="591">
                  <c:v>799.81204879999996</c:v>
                </c:pt>
                <c:pt idx="592">
                  <c:v>1438.7192282000001</c:v>
                </c:pt>
                <c:pt idx="593">
                  <c:v>1300.8015499000001</c:v>
                </c:pt>
                <c:pt idx="594">
                  <c:v>834.57040419999998</c:v>
                </c:pt>
                <c:pt idx="595">
                  <c:v>759.6167054</c:v>
                </c:pt>
                <c:pt idx="596">
                  <c:v>810.2536844</c:v>
                </c:pt>
                <c:pt idx="597">
                  <c:v>1376.5975120999999</c:v>
                </c:pt>
                <c:pt idx="598">
                  <c:v>943.67166780000002</c:v>
                </c:pt>
                <c:pt idx="599">
                  <c:v>1671.6419461</c:v>
                </c:pt>
                <c:pt idx="600">
                  <c:v>1691.6876218</c:v>
                </c:pt>
                <c:pt idx="601">
                  <c:v>817.27906280000002</c:v>
                </c:pt>
                <c:pt idx="602">
                  <c:v>865.83854210000004</c:v>
                </c:pt>
                <c:pt idx="603">
                  <c:v>801.03441510000005</c:v>
                </c:pt>
                <c:pt idx="604">
                  <c:v>774.42591749999997</c:v>
                </c:pt>
                <c:pt idx="605">
                  <c:v>1011.1491769</c:v>
                </c:pt>
                <c:pt idx="606">
                  <c:v>1447.7473660999999</c:v>
                </c:pt>
                <c:pt idx="607">
                  <c:v>1481.9243872</c:v>
                </c:pt>
                <c:pt idx="608">
                  <c:v>740.18235770000001</c:v>
                </c:pt>
                <c:pt idx="609">
                  <c:v>748.80455199999994</c:v>
                </c:pt>
                <c:pt idx="610">
                  <c:v>811.76206730000001</c:v>
                </c:pt>
                <c:pt idx="611">
                  <c:v>804.03681470000004</c:v>
                </c:pt>
                <c:pt idx="612">
                  <c:v>843.10539510000001</c:v>
                </c:pt>
                <c:pt idx="613">
                  <c:v>1423.9874380000001</c:v>
                </c:pt>
                <c:pt idx="614">
                  <c:v>1798.7612096</c:v>
                </c:pt>
                <c:pt idx="615">
                  <c:v>772.79865059999997</c:v>
                </c:pt>
                <c:pt idx="616">
                  <c:v>724.96616759999995</c:v>
                </c:pt>
                <c:pt idx="617">
                  <c:v>803.64582099999996</c:v>
                </c:pt>
                <c:pt idx="618">
                  <c:v>833.76298350000002</c:v>
                </c:pt>
                <c:pt idx="619">
                  <c:v>822.58202559999995</c:v>
                </c:pt>
                <c:pt idx="620">
                  <c:v>1413.8955569</c:v>
                </c:pt>
                <c:pt idx="621">
                  <c:v>1445.3861774</c:v>
                </c:pt>
                <c:pt idx="622">
                  <c:v>805.54972229999998</c:v>
                </c:pt>
                <c:pt idx="623">
                  <c:v>791.77028250000001</c:v>
                </c:pt>
                <c:pt idx="624">
                  <c:v>799.64729039999997</c:v>
                </c:pt>
                <c:pt idx="625">
                  <c:v>807.09882189999996</c:v>
                </c:pt>
                <c:pt idx="626">
                  <c:v>870.99870769999995</c:v>
                </c:pt>
                <c:pt idx="627">
                  <c:v>1511.3732029</c:v>
                </c:pt>
                <c:pt idx="628">
                  <c:v>1504.0149936</c:v>
                </c:pt>
                <c:pt idx="629">
                  <c:v>831.78339689999996</c:v>
                </c:pt>
                <c:pt idx="630">
                  <c:v>831.93968589999997</c:v>
                </c:pt>
                <c:pt idx="631">
                  <c:v>837.45179180000002</c:v>
                </c:pt>
                <c:pt idx="632">
                  <c:v>1096.1798180999999</c:v>
                </c:pt>
                <c:pt idx="633">
                  <c:v>901.87241159999996</c:v>
                </c:pt>
                <c:pt idx="634">
                  <c:v>1521.3104195000001</c:v>
                </c:pt>
                <c:pt idx="635">
                  <c:v>1525.7357110999999</c:v>
                </c:pt>
                <c:pt idx="636">
                  <c:v>892.98853010000005</c:v>
                </c:pt>
                <c:pt idx="637">
                  <c:v>902.72208290000003</c:v>
                </c:pt>
                <c:pt idx="638">
                  <c:v>940.37272280000002</c:v>
                </c:pt>
                <c:pt idx="639">
                  <c:v>977.36484659999996</c:v>
                </c:pt>
                <c:pt idx="640">
                  <c:v>1033.0893163000001</c:v>
                </c:pt>
                <c:pt idx="641">
                  <c:v>1719.4486021</c:v>
                </c:pt>
                <c:pt idx="642">
                  <c:v>1651.3361483000001</c:v>
                </c:pt>
                <c:pt idx="643">
                  <c:v>922.52066609999997</c:v>
                </c:pt>
                <c:pt idx="644">
                  <c:v>905.17779989999997</c:v>
                </c:pt>
                <c:pt idx="645">
                  <c:v>964.21014990000003</c:v>
                </c:pt>
                <c:pt idx="646">
                  <c:v>973.01975960000004</c:v>
                </c:pt>
                <c:pt idx="647">
                  <c:v>1031.1660770999999</c:v>
                </c:pt>
                <c:pt idx="648">
                  <c:v>1547.8749218999999</c:v>
                </c:pt>
                <c:pt idx="649">
                  <c:v>1562.6374813</c:v>
                </c:pt>
                <c:pt idx="650">
                  <c:v>962.59649400000001</c:v>
                </c:pt>
                <c:pt idx="651">
                  <c:v>956.36344120000001</c:v>
                </c:pt>
                <c:pt idx="652">
                  <c:v>988.10251900000003</c:v>
                </c:pt>
                <c:pt idx="653">
                  <c:v>967.91941050000003</c:v>
                </c:pt>
                <c:pt idx="654">
                  <c:v>986.64765190000003</c:v>
                </c:pt>
                <c:pt idx="655">
                  <c:v>1653.9335202</c:v>
                </c:pt>
                <c:pt idx="656">
                  <c:v>1485.3429438000001</c:v>
                </c:pt>
                <c:pt idx="657">
                  <c:v>2206.7031972999998</c:v>
                </c:pt>
                <c:pt idx="658">
                  <c:v>2177.1713697</c:v>
                </c:pt>
                <c:pt idx="659">
                  <c:v>2191.1893497999999</c:v>
                </c:pt>
                <c:pt idx="660">
                  <c:v>2146.2961507999999</c:v>
                </c:pt>
                <c:pt idx="661">
                  <c:v>3400.5302805000001</c:v>
                </c:pt>
                <c:pt idx="662">
                  <c:v>4894.2715047000002</c:v>
                </c:pt>
                <c:pt idx="663">
                  <c:v>4482.4285244000002</c:v>
                </c:pt>
                <c:pt idx="664">
                  <c:v>2004.6062772</c:v>
                </c:pt>
                <c:pt idx="665">
                  <c:v>2089.8901304000001</c:v>
                </c:pt>
                <c:pt idx="666">
                  <c:v>2121.8758217</c:v>
                </c:pt>
                <c:pt idx="667">
                  <c:v>2109.7697919000002</c:v>
                </c:pt>
                <c:pt idx="668">
                  <c:v>3426.0665383999999</c:v>
                </c:pt>
                <c:pt idx="669">
                  <c:v>4632.0346443999997</c:v>
                </c:pt>
                <c:pt idx="670">
                  <c:v>4252.0377108000002</c:v>
                </c:pt>
                <c:pt idx="671">
                  <c:v>2139.9046714000001</c:v>
                </c:pt>
                <c:pt idx="672">
                  <c:v>2160.299685</c:v>
                </c:pt>
                <c:pt idx="673">
                  <c:v>2122.6895838</c:v>
                </c:pt>
                <c:pt idx="674">
                  <c:v>2134.1385725999999</c:v>
                </c:pt>
                <c:pt idx="675">
                  <c:v>3439.9320766000001</c:v>
                </c:pt>
                <c:pt idx="676">
                  <c:v>4704.7569833999996</c:v>
                </c:pt>
                <c:pt idx="677">
                  <c:v>4306.2321866000002</c:v>
                </c:pt>
                <c:pt idx="678">
                  <c:v>2289.4375415</c:v>
                </c:pt>
                <c:pt idx="679">
                  <c:v>2308.9773604000002</c:v>
                </c:pt>
                <c:pt idx="680">
                  <c:v>2339.7623305000002</c:v>
                </c:pt>
                <c:pt idx="681">
                  <c:v>2376.3341301999999</c:v>
                </c:pt>
                <c:pt idx="682">
                  <c:v>3665.4303933000001</c:v>
                </c:pt>
                <c:pt idx="683">
                  <c:v>4779.8687355000002</c:v>
                </c:pt>
                <c:pt idx="684">
                  <c:v>4323.3377829000001</c:v>
                </c:pt>
                <c:pt idx="685">
                  <c:v>2355.0424932000001</c:v>
                </c:pt>
                <c:pt idx="686">
                  <c:v>2348.6307526000001</c:v>
                </c:pt>
                <c:pt idx="687">
                  <c:v>2348.4734276999998</c:v>
                </c:pt>
                <c:pt idx="688">
                  <c:v>2550.3005128</c:v>
                </c:pt>
                <c:pt idx="689">
                  <c:v>3668.1908168999998</c:v>
                </c:pt>
                <c:pt idx="690">
                  <c:v>4748.9814931000001</c:v>
                </c:pt>
                <c:pt idx="691">
                  <c:v>4300.8654041999998</c:v>
                </c:pt>
                <c:pt idx="692">
                  <c:v>1995.8571512999999</c:v>
                </c:pt>
                <c:pt idx="693">
                  <c:v>2560.4701065999998</c:v>
                </c:pt>
                <c:pt idx="694">
                  <c:v>2392.2516454000001</c:v>
                </c:pt>
                <c:pt idx="695">
                  <c:v>2521.2411591</c:v>
                </c:pt>
                <c:pt idx="696">
                  <c:v>3718.5689796000001</c:v>
                </c:pt>
                <c:pt idx="697">
                  <c:v>4895.6373550999997</c:v>
                </c:pt>
                <c:pt idx="698">
                  <c:v>4475.3361052</c:v>
                </c:pt>
                <c:pt idx="699">
                  <c:v>2378.8014678999998</c:v>
                </c:pt>
                <c:pt idx="700">
                  <c:v>2399.6857362999999</c:v>
                </c:pt>
                <c:pt idx="701">
                  <c:v>2356.9223609999999</c:v>
                </c:pt>
                <c:pt idx="702">
                  <c:v>2215.2723956999998</c:v>
                </c:pt>
                <c:pt idx="703">
                  <c:v>3738.6170054999998</c:v>
                </c:pt>
                <c:pt idx="704">
                  <c:v>4751.8255289999997</c:v>
                </c:pt>
                <c:pt idx="705">
                  <c:v>4430.8655133000002</c:v>
                </c:pt>
                <c:pt idx="706">
                  <c:v>2743.0079503000002</c:v>
                </c:pt>
                <c:pt idx="707">
                  <c:v>2529.5972876999999</c:v>
                </c:pt>
                <c:pt idx="708">
                  <c:v>2500.2149285</c:v>
                </c:pt>
                <c:pt idx="709">
                  <c:v>2419.3860273999999</c:v>
                </c:pt>
                <c:pt idx="710">
                  <c:v>3707.9045667999999</c:v>
                </c:pt>
                <c:pt idx="711">
                  <c:v>4945.0747945000003</c:v>
                </c:pt>
                <c:pt idx="712">
                  <c:v>4448.4086938999999</c:v>
                </c:pt>
                <c:pt idx="713">
                  <c:v>2832.3782203000001</c:v>
                </c:pt>
                <c:pt idx="714">
                  <c:v>2597.0514674999999</c:v>
                </c:pt>
                <c:pt idx="715">
                  <c:v>2426.7019574000001</c:v>
                </c:pt>
                <c:pt idx="716">
                  <c:v>2405.5728957000001</c:v>
                </c:pt>
                <c:pt idx="717">
                  <c:v>3685.0009805</c:v>
                </c:pt>
                <c:pt idx="718">
                  <c:v>4875.4554454999998</c:v>
                </c:pt>
                <c:pt idx="719">
                  <c:v>4408.2799676000004</c:v>
                </c:pt>
                <c:pt idx="720">
                  <c:v>1907.230376</c:v>
                </c:pt>
                <c:pt idx="721">
                  <c:v>1961.2682073999999</c:v>
                </c:pt>
                <c:pt idx="722">
                  <c:v>2030.0802609</c:v>
                </c:pt>
                <c:pt idx="723">
                  <c:v>2084.7920786999998</c:v>
                </c:pt>
                <c:pt idx="724">
                  <c:v>3419.2908843999999</c:v>
                </c:pt>
                <c:pt idx="725">
                  <c:v>5113.2410834000002</c:v>
                </c:pt>
                <c:pt idx="726">
                  <c:v>4445.2220303000004</c:v>
                </c:pt>
                <c:pt idx="727">
                  <c:v>2282.4631654999998</c:v>
                </c:pt>
                <c:pt idx="728">
                  <c:v>2326.4249281000002</c:v>
                </c:pt>
                <c:pt idx="729">
                  <c:v>2345.7024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A0-436E-9D41-37465DD9E5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852559"/>
        <c:axId val="171850063"/>
      </c:lineChart>
      <c:dateAx>
        <c:axId val="17185255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850063"/>
        <c:crosses val="autoZero"/>
        <c:auto val="1"/>
        <c:lblOffset val="100"/>
        <c:baseTimeUnit val="days"/>
      </c:dateAx>
      <c:valAx>
        <c:axId val="1718500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8525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3C-45D8-A2A6-C1BA08C0DA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  <c:pt idx="10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</c:formatCode>
                <c:ptCount val="11"/>
                <c:pt idx="0">
                  <c:v>17.829895992912189</c:v>
                </c:pt>
                <c:pt idx="1">
                  <c:v>15.203389915237286</c:v>
                </c:pt>
                <c:pt idx="2">
                  <c:v>14.17180970787779</c:v>
                </c:pt>
                <c:pt idx="3">
                  <c:v>11.278962226374947</c:v>
                </c:pt>
                <c:pt idx="4">
                  <c:v>16.585922475934286</c:v>
                </c:pt>
                <c:pt idx="5">
                  <c:v>12.803952690106367</c:v>
                </c:pt>
                <c:pt idx="6">
                  <c:v>21.425349464188908</c:v>
                </c:pt>
                <c:pt idx="7">
                  <c:v>9.9891251395460685</c:v>
                </c:pt>
                <c:pt idx="8">
                  <c:v>4.992488153827817</c:v>
                </c:pt>
                <c:pt idx="9">
                  <c:v>78.947425309613493</c:v>
                </c:pt>
                <c:pt idx="10">
                  <c:v>15.503897863092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BC5-4055-B42E-6EE3DAF1846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  <c:pt idx="10">
                  <c:v>Total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5.6704781348882273E-2</c:v>
                </c:pt>
                <c:pt idx="1">
                  <c:v>6.301434008847967E-2</c:v>
                </c:pt>
                <c:pt idx="2">
                  <c:v>3.6113353274742382E-2</c:v>
                </c:pt>
                <c:pt idx="3">
                  <c:v>9.4655257914036967E-3</c:v>
                </c:pt>
                <c:pt idx="4">
                  <c:v>5.1244551249380547E-3</c:v>
                </c:pt>
                <c:pt idx="5">
                  <c:v>6.0071761029069021E-3</c:v>
                </c:pt>
                <c:pt idx="6">
                  <c:v>1.184078953427739E-3</c:v>
                </c:pt>
                <c:pt idx="7">
                  <c:v>1.6409693907454973E-3</c:v>
                </c:pt>
                <c:pt idx="8">
                  <c:v>1.332401232987982E-3</c:v>
                </c:pt>
                <c:pt idx="9">
                  <c:v>2.9258837551313169E-5</c:v>
                </c:pt>
                <c:pt idx="10">
                  <c:v>0.18061634014606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AE7-421A-8A48-C5637644CFD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4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  <c:pt idx="3">
                  <c:v>Total</c:v>
                </c:pt>
              </c:strCache>
            </c:strRef>
          </c:cat>
          <c:val>
            <c:numRef>
              <c:f>Sheet1!$B$2:$B$12</c:f>
              <c:numCache>
                <c:formatCode>#,##0</c:formatCode>
                <c:ptCount val="4"/>
                <c:pt idx="0">
                  <c:v>11404.242699999997</c:v>
                </c:pt>
                <c:pt idx="1">
                  <c:v>977.29</c:v>
                </c:pt>
                <c:pt idx="2">
                  <c:v>14740.751</c:v>
                </c:pt>
                <c:pt idx="3">
                  <c:v>27122.2836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Model F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522937203543643E-2"/>
          <c:y val="0.25041666666666673"/>
          <c:w val="0.90398639758719102"/>
          <c:h val="0.51676326917468651"/>
        </c:manualLayout>
      </c:layout>
      <c:lineChart>
        <c:grouping val="standard"/>
        <c:varyColors val="0"/>
        <c:ser>
          <c:idx val="0"/>
          <c:order val="0"/>
          <c:tx>
            <c:strRef>
              <c:f>'Model Fit'!$F$9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F$10:$F$739</c:f>
              <c:numCache>
                <c:formatCode>General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33-442D-A5E9-1AE5A4FE7196}"/>
            </c:ext>
          </c:extLst>
        </c:ser>
        <c:ser>
          <c:idx val="1"/>
          <c:order val="1"/>
          <c:tx>
            <c:strRef>
              <c:f>'Model Fit'!$G$9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G$10:$G$739</c:f>
              <c:numCache>
                <c:formatCode>General</c:formatCode>
                <c:ptCount val="730"/>
                <c:pt idx="0">
                  <c:v>1882.9659402</c:v>
                </c:pt>
                <c:pt idx="1">
                  <c:v>1818.9906934000001</c:v>
                </c:pt>
                <c:pt idx="2">
                  <c:v>2557.7802612999999</c:v>
                </c:pt>
                <c:pt idx="3">
                  <c:v>5680.2858718999996</c:v>
                </c:pt>
                <c:pt idx="4">
                  <c:v>7192.7156014000002</c:v>
                </c:pt>
                <c:pt idx="5">
                  <c:v>6570.8214025999996</c:v>
                </c:pt>
                <c:pt idx="6">
                  <c:v>3876.7730630999999</c:v>
                </c:pt>
                <c:pt idx="7">
                  <c:v>3959.0498587000002</c:v>
                </c:pt>
                <c:pt idx="8">
                  <c:v>3974.4368957000002</c:v>
                </c:pt>
                <c:pt idx="9">
                  <c:v>3845.1452325999999</c:v>
                </c:pt>
                <c:pt idx="10">
                  <c:v>6292.3208174000001</c:v>
                </c:pt>
                <c:pt idx="11">
                  <c:v>7204.2171399999997</c:v>
                </c:pt>
                <c:pt idx="12">
                  <c:v>6082.6480895000004</c:v>
                </c:pt>
                <c:pt idx="13">
                  <c:v>3039.7326097999999</c:v>
                </c:pt>
                <c:pt idx="14">
                  <c:v>2915.1665386999998</c:v>
                </c:pt>
                <c:pt idx="15">
                  <c:v>2635.2654535000001</c:v>
                </c:pt>
                <c:pt idx="16">
                  <c:v>2570.8618707999999</c:v>
                </c:pt>
                <c:pt idx="17">
                  <c:v>5115.7626882000004</c:v>
                </c:pt>
                <c:pt idx="18">
                  <c:v>6044.7251403999999</c:v>
                </c:pt>
                <c:pt idx="19">
                  <c:v>5044.7055999000004</c:v>
                </c:pt>
                <c:pt idx="20">
                  <c:v>2139.1059137000002</c:v>
                </c:pt>
                <c:pt idx="21">
                  <c:v>2176.7748182999999</c:v>
                </c:pt>
                <c:pt idx="22">
                  <c:v>2148.4141353</c:v>
                </c:pt>
                <c:pt idx="23">
                  <c:v>2182.2298436000001</c:v>
                </c:pt>
                <c:pt idx="24">
                  <c:v>5017.9338460999998</c:v>
                </c:pt>
                <c:pt idx="25">
                  <c:v>6221.7079992999998</c:v>
                </c:pt>
                <c:pt idx="26">
                  <c:v>5301.8772502000002</c:v>
                </c:pt>
                <c:pt idx="27">
                  <c:v>2316.2159906000002</c:v>
                </c:pt>
                <c:pt idx="28">
                  <c:v>2431.1869013</c:v>
                </c:pt>
                <c:pt idx="29">
                  <c:v>2589.5926444000002</c:v>
                </c:pt>
                <c:pt idx="30">
                  <c:v>2581.5237937000002</c:v>
                </c:pt>
                <c:pt idx="31">
                  <c:v>5395.9333355999997</c:v>
                </c:pt>
                <c:pt idx="32">
                  <c:v>6519.1312779999998</c:v>
                </c:pt>
                <c:pt idx="33">
                  <c:v>5605.9817298999997</c:v>
                </c:pt>
                <c:pt idx="34">
                  <c:v>2721.3422212</c:v>
                </c:pt>
                <c:pt idx="35">
                  <c:v>2646.4860595999999</c:v>
                </c:pt>
                <c:pt idx="36">
                  <c:v>2749.5434227999999</c:v>
                </c:pt>
                <c:pt idx="37">
                  <c:v>2693.7773757</c:v>
                </c:pt>
                <c:pt idx="38">
                  <c:v>5645.0563493999998</c:v>
                </c:pt>
                <c:pt idx="39">
                  <c:v>6605.1107407</c:v>
                </c:pt>
                <c:pt idx="40">
                  <c:v>5637.5554739999998</c:v>
                </c:pt>
                <c:pt idx="41">
                  <c:v>2644.6951205</c:v>
                </c:pt>
                <c:pt idx="42">
                  <c:v>2599.4655640000001</c:v>
                </c:pt>
                <c:pt idx="43">
                  <c:v>2669.3697493999998</c:v>
                </c:pt>
                <c:pt idx="44">
                  <c:v>2715.7076576999998</c:v>
                </c:pt>
                <c:pt idx="45">
                  <c:v>5647.4620640000003</c:v>
                </c:pt>
                <c:pt idx="46">
                  <c:v>6541.5157841999999</c:v>
                </c:pt>
                <c:pt idx="47">
                  <c:v>5634.5064003999996</c:v>
                </c:pt>
                <c:pt idx="48">
                  <c:v>2717.0261859000002</c:v>
                </c:pt>
                <c:pt idx="49">
                  <c:v>2777.9514488</c:v>
                </c:pt>
                <c:pt idx="50">
                  <c:v>2757.6859174000001</c:v>
                </c:pt>
                <c:pt idx="51">
                  <c:v>2707.7955176999999</c:v>
                </c:pt>
                <c:pt idx="52">
                  <c:v>5475.1140585000003</c:v>
                </c:pt>
                <c:pt idx="53">
                  <c:v>6609.7997594999997</c:v>
                </c:pt>
                <c:pt idx="54">
                  <c:v>5603.2719844000003</c:v>
                </c:pt>
                <c:pt idx="55">
                  <c:v>2726.0001074000002</c:v>
                </c:pt>
                <c:pt idx="56">
                  <c:v>2783.539878</c:v>
                </c:pt>
                <c:pt idx="57">
                  <c:v>2832.8033255</c:v>
                </c:pt>
                <c:pt idx="58">
                  <c:v>2964.6119975000001</c:v>
                </c:pt>
                <c:pt idx="59">
                  <c:v>5630.9684237000001</c:v>
                </c:pt>
                <c:pt idx="60">
                  <c:v>6823.8067007999998</c:v>
                </c:pt>
                <c:pt idx="61">
                  <c:v>5836.2169039</c:v>
                </c:pt>
                <c:pt idx="62">
                  <c:v>2974.9782538999998</c:v>
                </c:pt>
                <c:pt idx="63">
                  <c:v>3079.7376251000001</c:v>
                </c:pt>
                <c:pt idx="64">
                  <c:v>3177.1977778999999</c:v>
                </c:pt>
                <c:pt idx="65">
                  <c:v>3062.7108849000001</c:v>
                </c:pt>
                <c:pt idx="66">
                  <c:v>5918.7585902999999</c:v>
                </c:pt>
                <c:pt idx="67">
                  <c:v>6967.8279787000001</c:v>
                </c:pt>
                <c:pt idx="68">
                  <c:v>6091.5407777</c:v>
                </c:pt>
                <c:pt idx="69">
                  <c:v>3023.9707465000001</c:v>
                </c:pt>
                <c:pt idx="70">
                  <c:v>3068.9260263000001</c:v>
                </c:pt>
                <c:pt idx="71">
                  <c:v>3115.2776978000002</c:v>
                </c:pt>
                <c:pt idx="72">
                  <c:v>3115.3165638</c:v>
                </c:pt>
                <c:pt idx="73">
                  <c:v>5805.2092677000001</c:v>
                </c:pt>
                <c:pt idx="74">
                  <c:v>6944.7769269999999</c:v>
                </c:pt>
                <c:pt idx="75">
                  <c:v>7899.6896883999998</c:v>
                </c:pt>
                <c:pt idx="76">
                  <c:v>5042.9905706</c:v>
                </c:pt>
                <c:pt idx="77">
                  <c:v>3040.9251284000002</c:v>
                </c:pt>
                <c:pt idx="78">
                  <c:v>3103.9390536999999</c:v>
                </c:pt>
                <c:pt idx="79">
                  <c:v>3141.0439861</c:v>
                </c:pt>
                <c:pt idx="80">
                  <c:v>5864.4886565999996</c:v>
                </c:pt>
                <c:pt idx="81">
                  <c:v>6971.7198699</c:v>
                </c:pt>
                <c:pt idx="82">
                  <c:v>5973.6754424999999</c:v>
                </c:pt>
                <c:pt idx="83">
                  <c:v>3056.7078563999999</c:v>
                </c:pt>
                <c:pt idx="84">
                  <c:v>3167.2895279999998</c:v>
                </c:pt>
                <c:pt idx="85">
                  <c:v>3073.8775070000002</c:v>
                </c:pt>
                <c:pt idx="86">
                  <c:v>3189.9512869</c:v>
                </c:pt>
                <c:pt idx="87">
                  <c:v>5895.7567437999996</c:v>
                </c:pt>
                <c:pt idx="88">
                  <c:v>6957.6170810000003</c:v>
                </c:pt>
                <c:pt idx="89">
                  <c:v>5956.5912728000003</c:v>
                </c:pt>
                <c:pt idx="90">
                  <c:v>3121.3906173999999</c:v>
                </c:pt>
                <c:pt idx="91">
                  <c:v>3175.5169962999998</c:v>
                </c:pt>
                <c:pt idx="92">
                  <c:v>3153.8307912</c:v>
                </c:pt>
                <c:pt idx="93">
                  <c:v>3142.2558779000001</c:v>
                </c:pt>
                <c:pt idx="94">
                  <c:v>5804.6071770999997</c:v>
                </c:pt>
                <c:pt idx="95">
                  <c:v>6881.9085992999999</c:v>
                </c:pt>
                <c:pt idx="96">
                  <c:v>5915.9053328999998</c:v>
                </c:pt>
                <c:pt idx="97">
                  <c:v>3015.4195679999998</c:v>
                </c:pt>
                <c:pt idx="98">
                  <c:v>3029.2920482</c:v>
                </c:pt>
                <c:pt idx="99">
                  <c:v>3029.2466926000002</c:v>
                </c:pt>
                <c:pt idx="100">
                  <c:v>3043.0895068999998</c:v>
                </c:pt>
                <c:pt idx="101">
                  <c:v>5735.9320727000004</c:v>
                </c:pt>
                <c:pt idx="102">
                  <c:v>6873.3424725000004</c:v>
                </c:pt>
                <c:pt idx="103">
                  <c:v>5938.9090204000004</c:v>
                </c:pt>
                <c:pt idx="104">
                  <c:v>3375.5527754999998</c:v>
                </c:pt>
                <c:pt idx="105">
                  <c:v>3237.2950482000001</c:v>
                </c:pt>
                <c:pt idx="106">
                  <c:v>3157.2978339000001</c:v>
                </c:pt>
                <c:pt idx="107">
                  <c:v>3082.9499842</c:v>
                </c:pt>
                <c:pt idx="108">
                  <c:v>5770.9613370999996</c:v>
                </c:pt>
                <c:pt idx="109">
                  <c:v>6917.6961525999996</c:v>
                </c:pt>
                <c:pt idx="110">
                  <c:v>5963.3756366999996</c:v>
                </c:pt>
                <c:pt idx="111">
                  <c:v>3079.4790628000001</c:v>
                </c:pt>
                <c:pt idx="112">
                  <c:v>3110.5498481999998</c:v>
                </c:pt>
                <c:pt idx="113">
                  <c:v>2974.4380139999998</c:v>
                </c:pt>
                <c:pt idx="114">
                  <c:v>3061.0495087999998</c:v>
                </c:pt>
                <c:pt idx="115">
                  <c:v>5722.5901640000002</c:v>
                </c:pt>
                <c:pt idx="116">
                  <c:v>7122.5416558999996</c:v>
                </c:pt>
                <c:pt idx="117">
                  <c:v>5921.4164861999998</c:v>
                </c:pt>
                <c:pt idx="118">
                  <c:v>2991.4898760000001</c:v>
                </c:pt>
                <c:pt idx="119">
                  <c:v>3031.8747315000001</c:v>
                </c:pt>
                <c:pt idx="120">
                  <c:v>3006.0176924000002</c:v>
                </c:pt>
                <c:pt idx="121">
                  <c:v>3079.9376704000001</c:v>
                </c:pt>
                <c:pt idx="122">
                  <c:v>5846.4619774000003</c:v>
                </c:pt>
                <c:pt idx="123">
                  <c:v>7030.5748652000002</c:v>
                </c:pt>
                <c:pt idx="124">
                  <c:v>5645.6713781999997</c:v>
                </c:pt>
                <c:pt idx="125">
                  <c:v>2746.1366389</c:v>
                </c:pt>
                <c:pt idx="126">
                  <c:v>2760.5042266999999</c:v>
                </c:pt>
                <c:pt idx="127">
                  <c:v>2778.1412789000001</c:v>
                </c:pt>
                <c:pt idx="128">
                  <c:v>2920.5538422999998</c:v>
                </c:pt>
                <c:pt idx="129">
                  <c:v>5495.1903506999997</c:v>
                </c:pt>
                <c:pt idx="130">
                  <c:v>6574.5287768999997</c:v>
                </c:pt>
                <c:pt idx="131">
                  <c:v>5640.5949817999999</c:v>
                </c:pt>
                <c:pt idx="132">
                  <c:v>2724.2810261999998</c:v>
                </c:pt>
                <c:pt idx="133">
                  <c:v>2759.6711909999999</c:v>
                </c:pt>
                <c:pt idx="134">
                  <c:v>2789.8468171</c:v>
                </c:pt>
                <c:pt idx="135">
                  <c:v>2888.0595456000001</c:v>
                </c:pt>
                <c:pt idx="136">
                  <c:v>5523.1056902</c:v>
                </c:pt>
                <c:pt idx="137">
                  <c:v>6679.5864481999997</c:v>
                </c:pt>
                <c:pt idx="138">
                  <c:v>5696.4719255999998</c:v>
                </c:pt>
                <c:pt idx="139">
                  <c:v>2819.844924</c:v>
                </c:pt>
                <c:pt idx="140">
                  <c:v>2856.9041895999999</c:v>
                </c:pt>
                <c:pt idx="141">
                  <c:v>2857.3963417</c:v>
                </c:pt>
                <c:pt idx="142">
                  <c:v>3638.1118504000001</c:v>
                </c:pt>
                <c:pt idx="143">
                  <c:v>5641.9132511999996</c:v>
                </c:pt>
                <c:pt idx="144">
                  <c:v>6742.6419321000003</c:v>
                </c:pt>
                <c:pt idx="145">
                  <c:v>5772.1473555000002</c:v>
                </c:pt>
                <c:pt idx="146">
                  <c:v>2838.2591115</c:v>
                </c:pt>
                <c:pt idx="147">
                  <c:v>3411.6629286000002</c:v>
                </c:pt>
                <c:pt idx="148">
                  <c:v>3026.2952486999998</c:v>
                </c:pt>
                <c:pt idx="149">
                  <c:v>2890.4997583999998</c:v>
                </c:pt>
                <c:pt idx="150">
                  <c:v>5560.2776185000002</c:v>
                </c:pt>
                <c:pt idx="151">
                  <c:v>6815.3756928000003</c:v>
                </c:pt>
                <c:pt idx="152">
                  <c:v>5722.1175928000002</c:v>
                </c:pt>
                <c:pt idx="153">
                  <c:v>2755.0439470000001</c:v>
                </c:pt>
                <c:pt idx="154">
                  <c:v>2809.5245500999999</c:v>
                </c:pt>
                <c:pt idx="155">
                  <c:v>3102.2980950000001</c:v>
                </c:pt>
                <c:pt idx="156">
                  <c:v>2840.0361145000002</c:v>
                </c:pt>
                <c:pt idx="157">
                  <c:v>5491.1065968000003</c:v>
                </c:pt>
                <c:pt idx="158">
                  <c:v>6608.9701299999997</c:v>
                </c:pt>
                <c:pt idx="159">
                  <c:v>5645.4339381</c:v>
                </c:pt>
                <c:pt idx="160">
                  <c:v>2749.7801869999998</c:v>
                </c:pt>
                <c:pt idx="161">
                  <c:v>2782.1040118999999</c:v>
                </c:pt>
                <c:pt idx="162">
                  <c:v>2812.9691197000002</c:v>
                </c:pt>
                <c:pt idx="163">
                  <c:v>2882.9584107999999</c:v>
                </c:pt>
                <c:pt idx="164">
                  <c:v>5524.9616260000003</c:v>
                </c:pt>
                <c:pt idx="165">
                  <c:v>6666.2129311999997</c:v>
                </c:pt>
                <c:pt idx="166">
                  <c:v>5640.9239753000002</c:v>
                </c:pt>
                <c:pt idx="167">
                  <c:v>2792.4522315999998</c:v>
                </c:pt>
                <c:pt idx="168">
                  <c:v>2911.9743778000002</c:v>
                </c:pt>
                <c:pt idx="169">
                  <c:v>2952.334809</c:v>
                </c:pt>
                <c:pt idx="170">
                  <c:v>3058.8873769000002</c:v>
                </c:pt>
                <c:pt idx="171">
                  <c:v>5746.2406161999997</c:v>
                </c:pt>
                <c:pt idx="172">
                  <c:v>6986.4767158000004</c:v>
                </c:pt>
                <c:pt idx="173">
                  <c:v>6154.1219346999997</c:v>
                </c:pt>
                <c:pt idx="174">
                  <c:v>3406.9426896</c:v>
                </c:pt>
                <c:pt idx="175">
                  <c:v>3519.2442210999998</c:v>
                </c:pt>
                <c:pt idx="176">
                  <c:v>3723.1100323000001</c:v>
                </c:pt>
                <c:pt idx="177">
                  <c:v>3979.84998</c:v>
                </c:pt>
                <c:pt idx="178">
                  <c:v>6734.9796523000005</c:v>
                </c:pt>
                <c:pt idx="179">
                  <c:v>8084.4236678999996</c:v>
                </c:pt>
                <c:pt idx="180">
                  <c:v>7331.7220950000001</c:v>
                </c:pt>
                <c:pt idx="181">
                  <c:v>4545.5791872</c:v>
                </c:pt>
                <c:pt idx="182">
                  <c:v>4662.6692278999999</c:v>
                </c:pt>
                <c:pt idx="183">
                  <c:v>4669.8175583000002</c:v>
                </c:pt>
                <c:pt idx="184">
                  <c:v>4873.6470737</c:v>
                </c:pt>
                <c:pt idx="185">
                  <c:v>7504.9192442000003</c:v>
                </c:pt>
                <c:pt idx="186">
                  <c:v>8877.3283446999994</c:v>
                </c:pt>
                <c:pt idx="187">
                  <c:v>7978.4401481000004</c:v>
                </c:pt>
                <c:pt idx="188">
                  <c:v>5026.8666325000004</c:v>
                </c:pt>
                <c:pt idx="189">
                  <c:v>4946.1657425000003</c:v>
                </c:pt>
                <c:pt idx="190">
                  <c:v>5009.2866187</c:v>
                </c:pt>
                <c:pt idx="191">
                  <c:v>5087.2536368999999</c:v>
                </c:pt>
                <c:pt idx="192">
                  <c:v>7689.9719808</c:v>
                </c:pt>
                <c:pt idx="193">
                  <c:v>8949.2610184000005</c:v>
                </c:pt>
                <c:pt idx="194">
                  <c:v>8003.5123744000002</c:v>
                </c:pt>
                <c:pt idx="195">
                  <c:v>5017.7921512000003</c:v>
                </c:pt>
                <c:pt idx="196">
                  <c:v>4841.1046487000003</c:v>
                </c:pt>
                <c:pt idx="197">
                  <c:v>5637.2516526999998</c:v>
                </c:pt>
                <c:pt idx="198">
                  <c:v>5981.5363409000001</c:v>
                </c:pt>
                <c:pt idx="199">
                  <c:v>6905.7701453999998</c:v>
                </c:pt>
                <c:pt idx="200">
                  <c:v>7883.2373814000002</c:v>
                </c:pt>
                <c:pt idx="201">
                  <c:v>6699.9849076</c:v>
                </c:pt>
                <c:pt idx="202">
                  <c:v>3640.5486099</c:v>
                </c:pt>
                <c:pt idx="203">
                  <c:v>6456.0459833000004</c:v>
                </c:pt>
                <c:pt idx="204">
                  <c:v>7608.6813579999998</c:v>
                </c:pt>
                <c:pt idx="205">
                  <c:v>3477.5678139000001</c:v>
                </c:pt>
                <c:pt idx="206">
                  <c:v>5015.7683151000001</c:v>
                </c:pt>
                <c:pt idx="207">
                  <c:v>5617.5741599000003</c:v>
                </c:pt>
                <c:pt idx="208">
                  <c:v>4993.7604350000001</c:v>
                </c:pt>
                <c:pt idx="209">
                  <c:v>3411.7057126999998</c:v>
                </c:pt>
                <c:pt idx="210">
                  <c:v>3495.8615516999998</c:v>
                </c:pt>
                <c:pt idx="211">
                  <c:v>3523.6832281000002</c:v>
                </c:pt>
                <c:pt idx="212">
                  <c:v>3505.0459354999998</c:v>
                </c:pt>
                <c:pt idx="213">
                  <c:v>5033.0513420999996</c:v>
                </c:pt>
                <c:pt idx="214">
                  <c:v>5561.8392954000001</c:v>
                </c:pt>
                <c:pt idx="215">
                  <c:v>5025.8072019000001</c:v>
                </c:pt>
                <c:pt idx="216">
                  <c:v>3386.8176764999998</c:v>
                </c:pt>
                <c:pt idx="217">
                  <c:v>3445.8966429000002</c:v>
                </c:pt>
                <c:pt idx="218">
                  <c:v>3505.0331494000002</c:v>
                </c:pt>
                <c:pt idx="219">
                  <c:v>3394.8793092000001</c:v>
                </c:pt>
                <c:pt idx="220">
                  <c:v>4850.5087280999996</c:v>
                </c:pt>
                <c:pt idx="221">
                  <c:v>5391.5317465999997</c:v>
                </c:pt>
                <c:pt idx="222">
                  <c:v>4816.9057094999998</c:v>
                </c:pt>
                <c:pt idx="223">
                  <c:v>3206.4323169999998</c:v>
                </c:pt>
                <c:pt idx="224">
                  <c:v>3220.2672143</c:v>
                </c:pt>
                <c:pt idx="225">
                  <c:v>3230.4426460999998</c:v>
                </c:pt>
                <c:pt idx="226">
                  <c:v>3262.5428501000001</c:v>
                </c:pt>
                <c:pt idx="227">
                  <c:v>4771.7876587999999</c:v>
                </c:pt>
                <c:pt idx="228">
                  <c:v>5463.0782945999999</c:v>
                </c:pt>
                <c:pt idx="229">
                  <c:v>5035.6688802999997</c:v>
                </c:pt>
                <c:pt idx="230">
                  <c:v>3518.0635284</c:v>
                </c:pt>
                <c:pt idx="231">
                  <c:v>3706.0503626999998</c:v>
                </c:pt>
                <c:pt idx="232">
                  <c:v>3596.7923345999998</c:v>
                </c:pt>
                <c:pt idx="233">
                  <c:v>3625.2349656000001</c:v>
                </c:pt>
                <c:pt idx="234">
                  <c:v>5072.6205794999996</c:v>
                </c:pt>
                <c:pt idx="235">
                  <c:v>5684.5536539000004</c:v>
                </c:pt>
                <c:pt idx="236">
                  <c:v>5255.537225</c:v>
                </c:pt>
                <c:pt idx="237">
                  <c:v>3529.0742547</c:v>
                </c:pt>
                <c:pt idx="238">
                  <c:v>3504.8420661999999</c:v>
                </c:pt>
                <c:pt idx="239">
                  <c:v>3469.1050819000002</c:v>
                </c:pt>
                <c:pt idx="240">
                  <c:v>3419.0137144</c:v>
                </c:pt>
                <c:pt idx="241">
                  <c:v>4827.1663236000004</c:v>
                </c:pt>
                <c:pt idx="242">
                  <c:v>5418.7963004000003</c:v>
                </c:pt>
                <c:pt idx="243">
                  <c:v>4806.6377991999998</c:v>
                </c:pt>
                <c:pt idx="244">
                  <c:v>3440.1474306999999</c:v>
                </c:pt>
                <c:pt idx="245">
                  <c:v>3316.4293791</c:v>
                </c:pt>
                <c:pt idx="246">
                  <c:v>3280.0092894999998</c:v>
                </c:pt>
                <c:pt idx="247">
                  <c:v>3484.2120713999998</c:v>
                </c:pt>
                <c:pt idx="248">
                  <c:v>5262.7082687000002</c:v>
                </c:pt>
                <c:pt idx="249">
                  <c:v>5267.7110312000004</c:v>
                </c:pt>
                <c:pt idx="250">
                  <c:v>4708.6490838</c:v>
                </c:pt>
                <c:pt idx="251">
                  <c:v>2869.3534917000002</c:v>
                </c:pt>
                <c:pt idx="252">
                  <c:v>2570.5651508999999</c:v>
                </c:pt>
                <c:pt idx="253">
                  <c:v>2527.1423407000002</c:v>
                </c:pt>
                <c:pt idx="254">
                  <c:v>2459.0210639000002</c:v>
                </c:pt>
                <c:pt idx="255">
                  <c:v>4180.6556682999999</c:v>
                </c:pt>
                <c:pt idx="256">
                  <c:v>5233.5027687000002</c:v>
                </c:pt>
                <c:pt idx="257">
                  <c:v>5033.3102134000001</c:v>
                </c:pt>
                <c:pt idx="258">
                  <c:v>3833.6007017000002</c:v>
                </c:pt>
                <c:pt idx="259">
                  <c:v>4174.9187248999997</c:v>
                </c:pt>
                <c:pt idx="260">
                  <c:v>4473.4817790999996</c:v>
                </c:pt>
                <c:pt idx="261">
                  <c:v>4717.8413749000001</c:v>
                </c:pt>
                <c:pt idx="262">
                  <c:v>6408.5456831000001</c:v>
                </c:pt>
                <c:pt idx="263">
                  <c:v>7341.2117644</c:v>
                </c:pt>
                <c:pt idx="264">
                  <c:v>7126.8904540000003</c:v>
                </c:pt>
                <c:pt idx="265">
                  <c:v>5666.6097810000001</c:v>
                </c:pt>
                <c:pt idx="266">
                  <c:v>5615.9018281999997</c:v>
                </c:pt>
                <c:pt idx="267">
                  <c:v>5520.5882245000003</c:v>
                </c:pt>
                <c:pt idx="268">
                  <c:v>5364.2871839999998</c:v>
                </c:pt>
                <c:pt idx="269">
                  <c:v>6760.7052224999998</c:v>
                </c:pt>
                <c:pt idx="270">
                  <c:v>7075.5358524000003</c:v>
                </c:pt>
                <c:pt idx="271">
                  <c:v>6406.0406423000004</c:v>
                </c:pt>
                <c:pt idx="272">
                  <c:v>4696.3487145999998</c:v>
                </c:pt>
                <c:pt idx="273">
                  <c:v>4721.4485038000003</c:v>
                </c:pt>
                <c:pt idx="274">
                  <c:v>4555.0785619999997</c:v>
                </c:pt>
                <c:pt idx="275">
                  <c:v>4412.1252815999997</c:v>
                </c:pt>
                <c:pt idx="276">
                  <c:v>5650.8185464999997</c:v>
                </c:pt>
                <c:pt idx="277">
                  <c:v>6262.9590484</c:v>
                </c:pt>
                <c:pt idx="278">
                  <c:v>5459.8456428999998</c:v>
                </c:pt>
                <c:pt idx="279">
                  <c:v>3183.0200608</c:v>
                </c:pt>
                <c:pt idx="280">
                  <c:v>2763.1219981999998</c:v>
                </c:pt>
                <c:pt idx="281">
                  <c:v>2429.3903507</c:v>
                </c:pt>
                <c:pt idx="282">
                  <c:v>2048.1304049</c:v>
                </c:pt>
                <c:pt idx="283">
                  <c:v>1853.5318904000001</c:v>
                </c:pt>
                <c:pt idx="284">
                  <c:v>1939.2664359</c:v>
                </c:pt>
                <c:pt idx="285">
                  <c:v>1579.2082648000001</c:v>
                </c:pt>
                <c:pt idx="286">
                  <c:v>986.41586299999994</c:v>
                </c:pt>
                <c:pt idx="287">
                  <c:v>580.37972830000001</c:v>
                </c:pt>
                <c:pt idx="288">
                  <c:v>434.79129599999999</c:v>
                </c:pt>
                <c:pt idx="289">
                  <c:v>297.73529559999997</c:v>
                </c:pt>
                <c:pt idx="290">
                  <c:v>200.84308960000001</c:v>
                </c:pt>
                <c:pt idx="291">
                  <c:v>462.73645399999998</c:v>
                </c:pt>
                <c:pt idx="292">
                  <c:v>398.74636909999998</c:v>
                </c:pt>
                <c:pt idx="293">
                  <c:v>100.0550197</c:v>
                </c:pt>
                <c:pt idx="294">
                  <c:v>109.6812048</c:v>
                </c:pt>
                <c:pt idx="295">
                  <c:v>101.69326340000001</c:v>
                </c:pt>
                <c:pt idx="296">
                  <c:v>103.37083199999999</c:v>
                </c:pt>
                <c:pt idx="297">
                  <c:v>108.60375860000001</c:v>
                </c:pt>
                <c:pt idx="298">
                  <c:v>415.30089670000001</c:v>
                </c:pt>
                <c:pt idx="299">
                  <c:v>430.19564680000002</c:v>
                </c:pt>
                <c:pt idx="300">
                  <c:v>114.1457898</c:v>
                </c:pt>
                <c:pt idx="301">
                  <c:v>99.752784399999996</c:v>
                </c:pt>
                <c:pt idx="302">
                  <c:v>103.83329209999999</c:v>
                </c:pt>
                <c:pt idx="303">
                  <c:v>83.540726000000006</c:v>
                </c:pt>
                <c:pt idx="304">
                  <c:v>-86.137784400000001</c:v>
                </c:pt>
                <c:pt idx="305">
                  <c:v>400.08812130000001</c:v>
                </c:pt>
                <c:pt idx="306">
                  <c:v>356.84963219999997</c:v>
                </c:pt>
                <c:pt idx="307">
                  <c:v>-130.40013859999999</c:v>
                </c:pt>
                <c:pt idx="308">
                  <c:v>146.43310740000001</c:v>
                </c:pt>
                <c:pt idx="309">
                  <c:v>176.49202890000001</c:v>
                </c:pt>
                <c:pt idx="310">
                  <c:v>163.87624249999999</c:v>
                </c:pt>
                <c:pt idx="311">
                  <c:v>138.43347900000001</c:v>
                </c:pt>
                <c:pt idx="312">
                  <c:v>775.10223340000005</c:v>
                </c:pt>
                <c:pt idx="313">
                  <c:v>474.96792579999999</c:v>
                </c:pt>
                <c:pt idx="314">
                  <c:v>140.09280960000001</c:v>
                </c:pt>
                <c:pt idx="315">
                  <c:v>198.89756740000001</c:v>
                </c:pt>
                <c:pt idx="316">
                  <c:v>232.50218129999999</c:v>
                </c:pt>
                <c:pt idx="317">
                  <c:v>193.6186864</c:v>
                </c:pt>
                <c:pt idx="318">
                  <c:v>190.6953584</c:v>
                </c:pt>
                <c:pt idx="319">
                  <c:v>596.70391710000001</c:v>
                </c:pt>
                <c:pt idx="320">
                  <c:v>624.85750659999997</c:v>
                </c:pt>
                <c:pt idx="321">
                  <c:v>268.1380767</c:v>
                </c:pt>
                <c:pt idx="322">
                  <c:v>288.53495329999998</c:v>
                </c:pt>
                <c:pt idx="323">
                  <c:v>501.53311760000003</c:v>
                </c:pt>
                <c:pt idx="324">
                  <c:v>378.64832209999997</c:v>
                </c:pt>
                <c:pt idx="325">
                  <c:v>494.87999180000003</c:v>
                </c:pt>
                <c:pt idx="326">
                  <c:v>824.59181690000003</c:v>
                </c:pt>
                <c:pt idx="327">
                  <c:v>813.07150439999998</c:v>
                </c:pt>
                <c:pt idx="328">
                  <c:v>342.23133860000002</c:v>
                </c:pt>
                <c:pt idx="329">
                  <c:v>330.98838280000001</c:v>
                </c:pt>
                <c:pt idx="330">
                  <c:v>364.4872939</c:v>
                </c:pt>
                <c:pt idx="331">
                  <c:v>342.78604280000002</c:v>
                </c:pt>
                <c:pt idx="332">
                  <c:v>108.4371872</c:v>
                </c:pt>
                <c:pt idx="333">
                  <c:v>716.95234070000004</c:v>
                </c:pt>
                <c:pt idx="334">
                  <c:v>751.34792400000003</c:v>
                </c:pt>
                <c:pt idx="335">
                  <c:v>365.78870289999998</c:v>
                </c:pt>
                <c:pt idx="336">
                  <c:v>375.80941200000001</c:v>
                </c:pt>
                <c:pt idx="337">
                  <c:v>403.27842939999999</c:v>
                </c:pt>
                <c:pt idx="338">
                  <c:v>390.46372050000002</c:v>
                </c:pt>
                <c:pt idx="339">
                  <c:v>405.61698030000002</c:v>
                </c:pt>
                <c:pt idx="340">
                  <c:v>843.92000069999995</c:v>
                </c:pt>
                <c:pt idx="341">
                  <c:v>884.19672860000003</c:v>
                </c:pt>
                <c:pt idx="342">
                  <c:v>404.51651420000002</c:v>
                </c:pt>
                <c:pt idx="343">
                  <c:v>391.75490600000001</c:v>
                </c:pt>
                <c:pt idx="344">
                  <c:v>379.42019920000001</c:v>
                </c:pt>
                <c:pt idx="345">
                  <c:v>407.02075969999999</c:v>
                </c:pt>
                <c:pt idx="346">
                  <c:v>418.22750100000002</c:v>
                </c:pt>
                <c:pt idx="347">
                  <c:v>886.59907410000005</c:v>
                </c:pt>
                <c:pt idx="348">
                  <c:v>764.29538009999999</c:v>
                </c:pt>
                <c:pt idx="349">
                  <c:v>-24.883217599999998</c:v>
                </c:pt>
                <c:pt idx="350">
                  <c:v>400.24048649999997</c:v>
                </c:pt>
                <c:pt idx="351">
                  <c:v>455.60881230000001</c:v>
                </c:pt>
                <c:pt idx="352">
                  <c:v>480.13756569999998</c:v>
                </c:pt>
                <c:pt idx="353">
                  <c:v>586.72954389999995</c:v>
                </c:pt>
                <c:pt idx="354">
                  <c:v>1195.969621</c:v>
                </c:pt>
                <c:pt idx="355">
                  <c:v>1201.1461564000001</c:v>
                </c:pt>
                <c:pt idx="356">
                  <c:v>521.38809549999996</c:v>
                </c:pt>
                <c:pt idx="357">
                  <c:v>532.16326170000002</c:v>
                </c:pt>
                <c:pt idx="358">
                  <c:v>563.33410119999996</c:v>
                </c:pt>
                <c:pt idx="359">
                  <c:v>608.96954240000002</c:v>
                </c:pt>
                <c:pt idx="360">
                  <c:v>612.22203990000003</c:v>
                </c:pt>
                <c:pt idx="361">
                  <c:v>1161.8664428</c:v>
                </c:pt>
                <c:pt idx="362">
                  <c:v>1336.5412963000001</c:v>
                </c:pt>
                <c:pt idx="363">
                  <c:v>660.89965270000005</c:v>
                </c:pt>
                <c:pt idx="364">
                  <c:v>649.93070049999994</c:v>
                </c:pt>
                <c:pt idx="365">
                  <c:v>701.93366939999999</c:v>
                </c:pt>
                <c:pt idx="366">
                  <c:v>830.33757089999995</c:v>
                </c:pt>
                <c:pt idx="367">
                  <c:v>800.03489230000002</c:v>
                </c:pt>
                <c:pt idx="368">
                  <c:v>1454.9300727</c:v>
                </c:pt>
                <c:pt idx="369">
                  <c:v>1460.8250433999999</c:v>
                </c:pt>
                <c:pt idx="370">
                  <c:v>771.88777289999996</c:v>
                </c:pt>
                <c:pt idx="371">
                  <c:v>794.5614008</c:v>
                </c:pt>
                <c:pt idx="372">
                  <c:v>790.64657569999997</c:v>
                </c:pt>
                <c:pt idx="373">
                  <c:v>967.42885520000004</c:v>
                </c:pt>
                <c:pt idx="374">
                  <c:v>1013.7677763</c:v>
                </c:pt>
                <c:pt idx="375">
                  <c:v>1549.3003991999999</c:v>
                </c:pt>
                <c:pt idx="376">
                  <c:v>1572.9750716000001</c:v>
                </c:pt>
                <c:pt idx="377">
                  <c:v>797.77796090000004</c:v>
                </c:pt>
                <c:pt idx="378">
                  <c:v>774.98706470000002</c:v>
                </c:pt>
                <c:pt idx="379">
                  <c:v>775.03951710000001</c:v>
                </c:pt>
                <c:pt idx="380">
                  <c:v>751.27803559999995</c:v>
                </c:pt>
                <c:pt idx="381">
                  <c:v>789.86547900000005</c:v>
                </c:pt>
                <c:pt idx="382">
                  <c:v>1525.1330396000001</c:v>
                </c:pt>
                <c:pt idx="383">
                  <c:v>1588.9685944</c:v>
                </c:pt>
                <c:pt idx="384">
                  <c:v>865.59912980000001</c:v>
                </c:pt>
                <c:pt idx="385">
                  <c:v>836.28700809999998</c:v>
                </c:pt>
                <c:pt idx="386">
                  <c:v>857.09275579999996</c:v>
                </c:pt>
                <c:pt idx="387">
                  <c:v>879.21886810000001</c:v>
                </c:pt>
                <c:pt idx="388">
                  <c:v>920.82197189999999</c:v>
                </c:pt>
                <c:pt idx="389">
                  <c:v>1643.5123782999999</c:v>
                </c:pt>
                <c:pt idx="390">
                  <c:v>1596.6773717999999</c:v>
                </c:pt>
                <c:pt idx="391">
                  <c:v>1066.8184100000001</c:v>
                </c:pt>
                <c:pt idx="392">
                  <c:v>1081.6002828000001</c:v>
                </c:pt>
                <c:pt idx="393">
                  <c:v>1275.4786254999999</c:v>
                </c:pt>
                <c:pt idx="394">
                  <c:v>1212.0746508</c:v>
                </c:pt>
                <c:pt idx="395">
                  <c:v>2726.6607336000002</c:v>
                </c:pt>
                <c:pt idx="396">
                  <c:v>4031.7169082</c:v>
                </c:pt>
                <c:pt idx="397">
                  <c:v>3584.3553548999998</c:v>
                </c:pt>
                <c:pt idx="398">
                  <c:v>1238.3695069</c:v>
                </c:pt>
                <c:pt idx="399">
                  <c:v>1314.2250326000001</c:v>
                </c:pt>
                <c:pt idx="400">
                  <c:v>1374.6996988999999</c:v>
                </c:pt>
                <c:pt idx="401">
                  <c:v>1410.8643463999999</c:v>
                </c:pt>
                <c:pt idx="402">
                  <c:v>2876.4744194999998</c:v>
                </c:pt>
                <c:pt idx="403">
                  <c:v>4270.3127248999999</c:v>
                </c:pt>
                <c:pt idx="404">
                  <c:v>3783.3454560999999</c:v>
                </c:pt>
                <c:pt idx="405">
                  <c:v>1405.7364720999999</c:v>
                </c:pt>
                <c:pt idx="406">
                  <c:v>1422.723103</c:v>
                </c:pt>
                <c:pt idx="407">
                  <c:v>1437.5264889</c:v>
                </c:pt>
                <c:pt idx="408">
                  <c:v>1467.8721728999999</c:v>
                </c:pt>
                <c:pt idx="409">
                  <c:v>2970.1635924000002</c:v>
                </c:pt>
                <c:pt idx="410">
                  <c:v>4312.0192413000004</c:v>
                </c:pt>
                <c:pt idx="411">
                  <c:v>4015.3430437000002</c:v>
                </c:pt>
                <c:pt idx="412">
                  <c:v>1550.3029893</c:v>
                </c:pt>
                <c:pt idx="413">
                  <c:v>1761.4991531000001</c:v>
                </c:pt>
                <c:pt idx="414">
                  <c:v>1887.0868806999999</c:v>
                </c:pt>
                <c:pt idx="415">
                  <c:v>1945.7017429</c:v>
                </c:pt>
                <c:pt idx="416">
                  <c:v>3285.9621959999999</c:v>
                </c:pt>
                <c:pt idx="417">
                  <c:v>4915.8607724000003</c:v>
                </c:pt>
                <c:pt idx="418">
                  <c:v>4587.0631309</c:v>
                </c:pt>
                <c:pt idx="419">
                  <c:v>2138.2720370000002</c:v>
                </c:pt>
                <c:pt idx="420">
                  <c:v>2212.1702567000002</c:v>
                </c:pt>
                <c:pt idx="421">
                  <c:v>2239.6763234999999</c:v>
                </c:pt>
                <c:pt idx="422">
                  <c:v>2234.7486122</c:v>
                </c:pt>
                <c:pt idx="423">
                  <c:v>3672.0083679999998</c:v>
                </c:pt>
                <c:pt idx="424">
                  <c:v>5073.2439738000003</c:v>
                </c:pt>
                <c:pt idx="425">
                  <c:v>4584.8463000000002</c:v>
                </c:pt>
                <c:pt idx="426">
                  <c:v>2056.9737535999998</c:v>
                </c:pt>
                <c:pt idx="427">
                  <c:v>2100.427666</c:v>
                </c:pt>
                <c:pt idx="428">
                  <c:v>2151.5608395999998</c:v>
                </c:pt>
                <c:pt idx="429">
                  <c:v>2178.7616907000001</c:v>
                </c:pt>
                <c:pt idx="430">
                  <c:v>3727.7554608</c:v>
                </c:pt>
                <c:pt idx="431">
                  <c:v>5052.9510102000004</c:v>
                </c:pt>
                <c:pt idx="432">
                  <c:v>4568.5071460999998</c:v>
                </c:pt>
                <c:pt idx="433">
                  <c:v>2094.5138522000002</c:v>
                </c:pt>
                <c:pt idx="434">
                  <c:v>2235.3987538000001</c:v>
                </c:pt>
                <c:pt idx="435">
                  <c:v>2222.7878129000001</c:v>
                </c:pt>
                <c:pt idx="436">
                  <c:v>2436.8795660000001</c:v>
                </c:pt>
                <c:pt idx="437">
                  <c:v>3717.2873513</c:v>
                </c:pt>
                <c:pt idx="438">
                  <c:v>5137.6206639000002</c:v>
                </c:pt>
                <c:pt idx="439">
                  <c:v>4668.0478112000001</c:v>
                </c:pt>
                <c:pt idx="440">
                  <c:v>2170.3792508000001</c:v>
                </c:pt>
                <c:pt idx="441">
                  <c:v>2373.6524690000001</c:v>
                </c:pt>
                <c:pt idx="442">
                  <c:v>2281.1621126</c:v>
                </c:pt>
                <c:pt idx="443">
                  <c:v>2216.6062015000002</c:v>
                </c:pt>
                <c:pt idx="444">
                  <c:v>4449.3772706999998</c:v>
                </c:pt>
                <c:pt idx="445">
                  <c:v>7115.4012743000003</c:v>
                </c:pt>
                <c:pt idx="446">
                  <c:v>6571.0568267999997</c:v>
                </c:pt>
                <c:pt idx="447">
                  <c:v>3723.8515821000001</c:v>
                </c:pt>
                <c:pt idx="448">
                  <c:v>2229.1965414000001</c:v>
                </c:pt>
                <c:pt idx="449">
                  <c:v>2391.7311534999999</c:v>
                </c:pt>
                <c:pt idx="450">
                  <c:v>2508.0212393000002</c:v>
                </c:pt>
                <c:pt idx="451">
                  <c:v>4092.2063262000001</c:v>
                </c:pt>
                <c:pt idx="452">
                  <c:v>5509.6098604999997</c:v>
                </c:pt>
                <c:pt idx="453">
                  <c:v>5082.5608061000003</c:v>
                </c:pt>
                <c:pt idx="454">
                  <c:v>2654.0202482999998</c:v>
                </c:pt>
                <c:pt idx="455">
                  <c:v>2736.4911665</c:v>
                </c:pt>
                <c:pt idx="456">
                  <c:v>2831.4893671</c:v>
                </c:pt>
                <c:pt idx="457">
                  <c:v>2875.3752180000001</c:v>
                </c:pt>
                <c:pt idx="458">
                  <c:v>4395.2075274999997</c:v>
                </c:pt>
                <c:pt idx="459">
                  <c:v>5863.7341120999999</c:v>
                </c:pt>
                <c:pt idx="460">
                  <c:v>5473.4742125000002</c:v>
                </c:pt>
                <c:pt idx="461">
                  <c:v>3202.9087906999998</c:v>
                </c:pt>
                <c:pt idx="462">
                  <c:v>3340.8052819999998</c:v>
                </c:pt>
                <c:pt idx="463">
                  <c:v>3479.9790192</c:v>
                </c:pt>
                <c:pt idx="464">
                  <c:v>3572.1367110000001</c:v>
                </c:pt>
                <c:pt idx="465">
                  <c:v>5142.4306648000002</c:v>
                </c:pt>
                <c:pt idx="466">
                  <c:v>6530.8027018000002</c:v>
                </c:pt>
                <c:pt idx="467">
                  <c:v>6118.2041281000002</c:v>
                </c:pt>
                <c:pt idx="468">
                  <c:v>3780.9273569000002</c:v>
                </c:pt>
                <c:pt idx="469">
                  <c:v>3834.8044190000001</c:v>
                </c:pt>
                <c:pt idx="470">
                  <c:v>3910.3919575</c:v>
                </c:pt>
                <c:pt idx="471">
                  <c:v>3573.7183267</c:v>
                </c:pt>
                <c:pt idx="472">
                  <c:v>4921.4247163</c:v>
                </c:pt>
                <c:pt idx="473">
                  <c:v>6268.6820080999996</c:v>
                </c:pt>
                <c:pt idx="474">
                  <c:v>5791.5164428999997</c:v>
                </c:pt>
                <c:pt idx="475">
                  <c:v>3555.1711952999999</c:v>
                </c:pt>
                <c:pt idx="476">
                  <c:v>3635.3515757999999</c:v>
                </c:pt>
                <c:pt idx="477">
                  <c:v>3579.1547879999998</c:v>
                </c:pt>
                <c:pt idx="478">
                  <c:v>3777.3811762</c:v>
                </c:pt>
                <c:pt idx="479">
                  <c:v>5112.9904657999996</c:v>
                </c:pt>
                <c:pt idx="480">
                  <c:v>6843.3940509000004</c:v>
                </c:pt>
                <c:pt idx="481">
                  <c:v>6411.0623647000002</c:v>
                </c:pt>
                <c:pt idx="482">
                  <c:v>3852.9045081999998</c:v>
                </c:pt>
                <c:pt idx="483">
                  <c:v>3900.7708560999999</c:v>
                </c:pt>
                <c:pt idx="484">
                  <c:v>3831.4698062000002</c:v>
                </c:pt>
                <c:pt idx="485">
                  <c:v>3897.2382969999999</c:v>
                </c:pt>
                <c:pt idx="486">
                  <c:v>5620.1268995</c:v>
                </c:pt>
                <c:pt idx="487">
                  <c:v>6957.7094619999998</c:v>
                </c:pt>
                <c:pt idx="488">
                  <c:v>6405.0146592999999</c:v>
                </c:pt>
                <c:pt idx="489">
                  <c:v>4094.0500787000001</c:v>
                </c:pt>
                <c:pt idx="490">
                  <c:v>4181.3103649000004</c:v>
                </c:pt>
                <c:pt idx="491">
                  <c:v>4254.8504266</c:v>
                </c:pt>
                <c:pt idx="492">
                  <c:v>4234.1520549999996</c:v>
                </c:pt>
                <c:pt idx="493">
                  <c:v>5635.7546253</c:v>
                </c:pt>
                <c:pt idx="494">
                  <c:v>6895.4519652999998</c:v>
                </c:pt>
                <c:pt idx="495">
                  <c:v>6354.5314375999997</c:v>
                </c:pt>
                <c:pt idx="496">
                  <c:v>4080.1045936</c:v>
                </c:pt>
                <c:pt idx="497">
                  <c:v>4011.3967072999999</c:v>
                </c:pt>
                <c:pt idx="498">
                  <c:v>3904.3808236999998</c:v>
                </c:pt>
                <c:pt idx="499">
                  <c:v>3982.7505105</c:v>
                </c:pt>
                <c:pt idx="500">
                  <c:v>5069.5489811999996</c:v>
                </c:pt>
                <c:pt idx="501">
                  <c:v>6254.5620846000002</c:v>
                </c:pt>
                <c:pt idx="502">
                  <c:v>6101.0228938999999</c:v>
                </c:pt>
                <c:pt idx="503">
                  <c:v>3258.8188441000002</c:v>
                </c:pt>
                <c:pt idx="504">
                  <c:v>3185.9105595999999</c:v>
                </c:pt>
                <c:pt idx="505">
                  <c:v>3130.1030386000002</c:v>
                </c:pt>
                <c:pt idx="506">
                  <c:v>3035.1892686000001</c:v>
                </c:pt>
                <c:pt idx="507">
                  <c:v>4405.9758192999998</c:v>
                </c:pt>
                <c:pt idx="508">
                  <c:v>6322.8848627999996</c:v>
                </c:pt>
                <c:pt idx="509">
                  <c:v>5180.1061854999998</c:v>
                </c:pt>
                <c:pt idx="510">
                  <c:v>2701.6746493999999</c:v>
                </c:pt>
                <c:pt idx="511">
                  <c:v>2653.8326542999998</c:v>
                </c:pt>
                <c:pt idx="512">
                  <c:v>2537.1614721999999</c:v>
                </c:pt>
                <c:pt idx="513">
                  <c:v>2684.5823565999999</c:v>
                </c:pt>
                <c:pt idx="514">
                  <c:v>2091.9133117000001</c:v>
                </c:pt>
                <c:pt idx="515">
                  <c:v>2344.8548010999998</c:v>
                </c:pt>
                <c:pt idx="516">
                  <c:v>2088.3604601000002</c:v>
                </c:pt>
                <c:pt idx="517">
                  <c:v>1633.4345638</c:v>
                </c:pt>
                <c:pt idx="518">
                  <c:v>1613.8248363</c:v>
                </c:pt>
                <c:pt idx="519">
                  <c:v>1424.6793276000001</c:v>
                </c:pt>
                <c:pt idx="520">
                  <c:v>1440.3006273999999</c:v>
                </c:pt>
                <c:pt idx="521">
                  <c:v>1283.2066354000001</c:v>
                </c:pt>
                <c:pt idx="522">
                  <c:v>1591.3224597999999</c:v>
                </c:pt>
                <c:pt idx="523">
                  <c:v>1738.4636399999999</c:v>
                </c:pt>
                <c:pt idx="524">
                  <c:v>1172.3279966</c:v>
                </c:pt>
                <c:pt idx="525">
                  <c:v>1034.8551697</c:v>
                </c:pt>
                <c:pt idx="526">
                  <c:v>1040.3416018</c:v>
                </c:pt>
                <c:pt idx="527">
                  <c:v>1012.8512212000001</c:v>
                </c:pt>
                <c:pt idx="528">
                  <c:v>999.19990410000003</c:v>
                </c:pt>
                <c:pt idx="529">
                  <c:v>1433.3166054000001</c:v>
                </c:pt>
                <c:pt idx="530">
                  <c:v>1370.3335867999999</c:v>
                </c:pt>
                <c:pt idx="531">
                  <c:v>937.04632519999996</c:v>
                </c:pt>
                <c:pt idx="532">
                  <c:v>970.9500061</c:v>
                </c:pt>
                <c:pt idx="533">
                  <c:v>995.89971149999997</c:v>
                </c:pt>
                <c:pt idx="534">
                  <c:v>986.93857179999998</c:v>
                </c:pt>
                <c:pt idx="535">
                  <c:v>974.9418991</c:v>
                </c:pt>
                <c:pt idx="536">
                  <c:v>1460.7300154</c:v>
                </c:pt>
                <c:pt idx="537">
                  <c:v>1373.7886182</c:v>
                </c:pt>
                <c:pt idx="538">
                  <c:v>934.96356879999996</c:v>
                </c:pt>
                <c:pt idx="539">
                  <c:v>972.40867579999997</c:v>
                </c:pt>
                <c:pt idx="540">
                  <c:v>1104.8492960000001</c:v>
                </c:pt>
                <c:pt idx="541">
                  <c:v>957.91771740000002</c:v>
                </c:pt>
                <c:pt idx="542">
                  <c:v>1257.9990986</c:v>
                </c:pt>
                <c:pt idx="543">
                  <c:v>3994.1268546000001</c:v>
                </c:pt>
                <c:pt idx="544">
                  <c:v>3487.9289609000002</c:v>
                </c:pt>
                <c:pt idx="545">
                  <c:v>1232.9934742</c:v>
                </c:pt>
                <c:pt idx="546">
                  <c:v>1374.6179629999999</c:v>
                </c:pt>
                <c:pt idx="547">
                  <c:v>1395.4090169999999</c:v>
                </c:pt>
                <c:pt idx="548">
                  <c:v>1408.6427908000001</c:v>
                </c:pt>
                <c:pt idx="549">
                  <c:v>3048.7758127000002</c:v>
                </c:pt>
                <c:pt idx="550">
                  <c:v>4273.7461124000001</c:v>
                </c:pt>
                <c:pt idx="551">
                  <c:v>3710.7809312999998</c:v>
                </c:pt>
                <c:pt idx="552">
                  <c:v>1476.0466899999999</c:v>
                </c:pt>
                <c:pt idx="553">
                  <c:v>1423.314048</c:v>
                </c:pt>
                <c:pt idx="554">
                  <c:v>1408.41038</c:v>
                </c:pt>
                <c:pt idx="555">
                  <c:v>1450.8065813999999</c:v>
                </c:pt>
                <c:pt idx="556">
                  <c:v>2785.1282547000001</c:v>
                </c:pt>
                <c:pt idx="557">
                  <c:v>4128.5266190000002</c:v>
                </c:pt>
                <c:pt idx="558">
                  <c:v>3613.1161594</c:v>
                </c:pt>
                <c:pt idx="559">
                  <c:v>1125.8792887</c:v>
                </c:pt>
                <c:pt idx="560">
                  <c:v>1166.1591767</c:v>
                </c:pt>
                <c:pt idx="561">
                  <c:v>1105.8461623000001</c:v>
                </c:pt>
                <c:pt idx="562">
                  <c:v>991.31675729999995</c:v>
                </c:pt>
                <c:pt idx="563">
                  <c:v>3165.6674401</c:v>
                </c:pt>
                <c:pt idx="564">
                  <c:v>5079.8452336</c:v>
                </c:pt>
                <c:pt idx="565">
                  <c:v>3596.6180218999998</c:v>
                </c:pt>
                <c:pt idx="566">
                  <c:v>957.84844980000003</c:v>
                </c:pt>
                <c:pt idx="567">
                  <c:v>1090.3395232</c:v>
                </c:pt>
                <c:pt idx="568">
                  <c:v>1127.3071312</c:v>
                </c:pt>
                <c:pt idx="569">
                  <c:v>3926.8530891</c:v>
                </c:pt>
                <c:pt idx="570">
                  <c:v>4748.3843880000004</c:v>
                </c:pt>
                <c:pt idx="571">
                  <c:v>1811.1583006999999</c:v>
                </c:pt>
                <c:pt idx="572">
                  <c:v>1924.4667942000001</c:v>
                </c:pt>
                <c:pt idx="573">
                  <c:v>1298.2694692</c:v>
                </c:pt>
                <c:pt idx="574">
                  <c:v>993.08636980000006</c:v>
                </c:pt>
                <c:pt idx="575">
                  <c:v>1005.9278471</c:v>
                </c:pt>
                <c:pt idx="576">
                  <c:v>967.92623390000006</c:v>
                </c:pt>
                <c:pt idx="577">
                  <c:v>964.98713650000002</c:v>
                </c:pt>
                <c:pt idx="578">
                  <c:v>1501.5548266000001</c:v>
                </c:pt>
                <c:pt idx="579">
                  <c:v>1423.4917310999999</c:v>
                </c:pt>
                <c:pt idx="580">
                  <c:v>826.05508150000003</c:v>
                </c:pt>
                <c:pt idx="581">
                  <c:v>884.6559555</c:v>
                </c:pt>
                <c:pt idx="582">
                  <c:v>802.74934540000004</c:v>
                </c:pt>
                <c:pt idx="583">
                  <c:v>846.31542569999999</c:v>
                </c:pt>
                <c:pt idx="584">
                  <c:v>939.3089655</c:v>
                </c:pt>
                <c:pt idx="585">
                  <c:v>1277.6827403</c:v>
                </c:pt>
                <c:pt idx="586">
                  <c:v>1375.6273533000001</c:v>
                </c:pt>
                <c:pt idx="587">
                  <c:v>711.54411459999994</c:v>
                </c:pt>
                <c:pt idx="588">
                  <c:v>745.31861939999999</c:v>
                </c:pt>
                <c:pt idx="589">
                  <c:v>722.67009819999998</c:v>
                </c:pt>
                <c:pt idx="590">
                  <c:v>839.6833001</c:v>
                </c:pt>
                <c:pt idx="591">
                  <c:v>747.6019119</c:v>
                </c:pt>
                <c:pt idx="592">
                  <c:v>1313.6289228999999</c:v>
                </c:pt>
                <c:pt idx="593">
                  <c:v>1113.0650165</c:v>
                </c:pt>
                <c:pt idx="594">
                  <c:v>701.89051940000002</c:v>
                </c:pt>
                <c:pt idx="595">
                  <c:v>705.23894180000002</c:v>
                </c:pt>
                <c:pt idx="596">
                  <c:v>783.19933360000005</c:v>
                </c:pt>
                <c:pt idx="597">
                  <c:v>1106.7896181000001</c:v>
                </c:pt>
                <c:pt idx="598">
                  <c:v>875.21513719999996</c:v>
                </c:pt>
                <c:pt idx="599">
                  <c:v>1448.3051273000001</c:v>
                </c:pt>
                <c:pt idx="600">
                  <c:v>1440.3704539</c:v>
                </c:pt>
                <c:pt idx="601">
                  <c:v>751.02477710000005</c:v>
                </c:pt>
                <c:pt idx="602">
                  <c:v>808.25125500000001</c:v>
                </c:pt>
                <c:pt idx="603">
                  <c:v>786.66094320000002</c:v>
                </c:pt>
                <c:pt idx="604">
                  <c:v>780.68486710000002</c:v>
                </c:pt>
                <c:pt idx="605">
                  <c:v>918.27634269999999</c:v>
                </c:pt>
                <c:pt idx="606">
                  <c:v>1376.2841675</c:v>
                </c:pt>
                <c:pt idx="607">
                  <c:v>1322.9842667999999</c:v>
                </c:pt>
                <c:pt idx="608">
                  <c:v>673.46301089999997</c:v>
                </c:pt>
                <c:pt idx="609">
                  <c:v>728.85712230000001</c:v>
                </c:pt>
                <c:pt idx="610">
                  <c:v>809.70480869999994</c:v>
                </c:pt>
                <c:pt idx="611">
                  <c:v>825.59144000000003</c:v>
                </c:pt>
                <c:pt idx="612">
                  <c:v>855.07259550000003</c:v>
                </c:pt>
                <c:pt idx="613">
                  <c:v>1380.7480961000001</c:v>
                </c:pt>
                <c:pt idx="614">
                  <c:v>1898.9679386</c:v>
                </c:pt>
                <c:pt idx="615">
                  <c:v>808.21379549999995</c:v>
                </c:pt>
                <c:pt idx="616">
                  <c:v>817.68098299999997</c:v>
                </c:pt>
                <c:pt idx="617">
                  <c:v>888.71297130000005</c:v>
                </c:pt>
                <c:pt idx="618">
                  <c:v>903.27087940000001</c:v>
                </c:pt>
                <c:pt idx="619">
                  <c:v>906.68864450000001</c:v>
                </c:pt>
                <c:pt idx="620">
                  <c:v>1501.9745605000001</c:v>
                </c:pt>
                <c:pt idx="621">
                  <c:v>1499.2291525000001</c:v>
                </c:pt>
                <c:pt idx="622">
                  <c:v>939.14766080000004</c:v>
                </c:pt>
                <c:pt idx="623">
                  <c:v>937.05987709999999</c:v>
                </c:pt>
                <c:pt idx="624">
                  <c:v>964.0343044</c:v>
                </c:pt>
                <c:pt idx="625">
                  <c:v>955.84915249999995</c:v>
                </c:pt>
                <c:pt idx="626">
                  <c:v>958.59245539999995</c:v>
                </c:pt>
                <c:pt idx="627">
                  <c:v>1533.9059446000001</c:v>
                </c:pt>
                <c:pt idx="628">
                  <c:v>1505.8088855000001</c:v>
                </c:pt>
                <c:pt idx="629">
                  <c:v>903.76887620000002</c:v>
                </c:pt>
                <c:pt idx="630">
                  <c:v>924.19475660000001</c:v>
                </c:pt>
                <c:pt idx="631">
                  <c:v>929.00252369999998</c:v>
                </c:pt>
                <c:pt idx="632">
                  <c:v>1067.8129217000001</c:v>
                </c:pt>
                <c:pt idx="633">
                  <c:v>962.94867369999997</c:v>
                </c:pt>
                <c:pt idx="634">
                  <c:v>1544.1611573</c:v>
                </c:pt>
                <c:pt idx="635">
                  <c:v>1525.8797288999999</c:v>
                </c:pt>
                <c:pt idx="636">
                  <c:v>945.59665440000003</c:v>
                </c:pt>
                <c:pt idx="637">
                  <c:v>1002.4966881</c:v>
                </c:pt>
                <c:pt idx="638">
                  <c:v>1033.3673343</c:v>
                </c:pt>
                <c:pt idx="639">
                  <c:v>1074.1420443</c:v>
                </c:pt>
                <c:pt idx="640">
                  <c:v>1104.6506175</c:v>
                </c:pt>
                <c:pt idx="641">
                  <c:v>1701.2731873</c:v>
                </c:pt>
                <c:pt idx="642">
                  <c:v>1676.9683454999999</c:v>
                </c:pt>
                <c:pt idx="643">
                  <c:v>1028.3008857</c:v>
                </c:pt>
                <c:pt idx="644">
                  <c:v>1061.3618679000001</c:v>
                </c:pt>
                <c:pt idx="645">
                  <c:v>1107.0159503</c:v>
                </c:pt>
                <c:pt idx="646">
                  <c:v>1113.0970921999999</c:v>
                </c:pt>
                <c:pt idx="647">
                  <c:v>1151.346164</c:v>
                </c:pt>
                <c:pt idx="648">
                  <c:v>1672.7842966000001</c:v>
                </c:pt>
                <c:pt idx="649">
                  <c:v>1684.2991133999999</c:v>
                </c:pt>
                <c:pt idx="650">
                  <c:v>1136.1565131</c:v>
                </c:pt>
                <c:pt idx="651">
                  <c:v>1177.3130681</c:v>
                </c:pt>
                <c:pt idx="652">
                  <c:v>1227.3268793</c:v>
                </c:pt>
                <c:pt idx="653">
                  <c:v>1226.2553777000001</c:v>
                </c:pt>
                <c:pt idx="654">
                  <c:v>1219.0629117000001</c:v>
                </c:pt>
                <c:pt idx="655">
                  <c:v>1814.6648752000001</c:v>
                </c:pt>
                <c:pt idx="656">
                  <c:v>1699.1952613000001</c:v>
                </c:pt>
                <c:pt idx="657">
                  <c:v>1409.3614772999999</c:v>
                </c:pt>
                <c:pt idx="658">
                  <c:v>1331.8771501000001</c:v>
                </c:pt>
                <c:pt idx="659">
                  <c:v>1361.9264186</c:v>
                </c:pt>
                <c:pt idx="660">
                  <c:v>1327.3302123000001</c:v>
                </c:pt>
                <c:pt idx="661">
                  <c:v>3011.7507786000001</c:v>
                </c:pt>
                <c:pt idx="662">
                  <c:v>4549.5404517999996</c:v>
                </c:pt>
                <c:pt idx="663">
                  <c:v>4015.0785340000002</c:v>
                </c:pt>
                <c:pt idx="664">
                  <c:v>1387.3849104999999</c:v>
                </c:pt>
                <c:pt idx="665">
                  <c:v>1294.3416695000001</c:v>
                </c:pt>
                <c:pt idx="666">
                  <c:v>1359.2464677999999</c:v>
                </c:pt>
                <c:pt idx="667">
                  <c:v>1391.3463703</c:v>
                </c:pt>
                <c:pt idx="668">
                  <c:v>2935.3746848999999</c:v>
                </c:pt>
                <c:pt idx="669">
                  <c:v>4213.3709210999996</c:v>
                </c:pt>
                <c:pt idx="670">
                  <c:v>3705.2169997999999</c:v>
                </c:pt>
                <c:pt idx="671">
                  <c:v>1341.1503974</c:v>
                </c:pt>
                <c:pt idx="672">
                  <c:v>1396.8968275</c:v>
                </c:pt>
                <c:pt idx="673">
                  <c:v>1378.8164101</c:v>
                </c:pt>
                <c:pt idx="674">
                  <c:v>1399.1466201999999</c:v>
                </c:pt>
                <c:pt idx="675">
                  <c:v>2891.5139838</c:v>
                </c:pt>
                <c:pt idx="676">
                  <c:v>4271.6909654999999</c:v>
                </c:pt>
                <c:pt idx="677">
                  <c:v>3822.6800804999998</c:v>
                </c:pt>
                <c:pt idx="678">
                  <c:v>1560.3832536</c:v>
                </c:pt>
                <c:pt idx="679">
                  <c:v>1635.8365632</c:v>
                </c:pt>
                <c:pt idx="680">
                  <c:v>1691.6334770999999</c:v>
                </c:pt>
                <c:pt idx="681">
                  <c:v>1757.0909478999999</c:v>
                </c:pt>
                <c:pt idx="682">
                  <c:v>3262.5122239000002</c:v>
                </c:pt>
                <c:pt idx="683">
                  <c:v>4487.6159219000001</c:v>
                </c:pt>
                <c:pt idx="684">
                  <c:v>3953.7482653000002</c:v>
                </c:pt>
                <c:pt idx="685">
                  <c:v>1747.9924688999999</c:v>
                </c:pt>
                <c:pt idx="686">
                  <c:v>1778.9327975000001</c:v>
                </c:pt>
                <c:pt idx="687">
                  <c:v>1798.7926772999999</c:v>
                </c:pt>
                <c:pt idx="688">
                  <c:v>1916.4662066999999</c:v>
                </c:pt>
                <c:pt idx="689">
                  <c:v>3275.3848816</c:v>
                </c:pt>
                <c:pt idx="690">
                  <c:v>4424.9093395</c:v>
                </c:pt>
                <c:pt idx="691">
                  <c:v>3884.4603178000002</c:v>
                </c:pt>
                <c:pt idx="692">
                  <c:v>1669.4066851</c:v>
                </c:pt>
                <c:pt idx="693">
                  <c:v>1985.2477925999999</c:v>
                </c:pt>
                <c:pt idx="694">
                  <c:v>2065.4150236</c:v>
                </c:pt>
                <c:pt idx="695">
                  <c:v>2253.3477956000002</c:v>
                </c:pt>
                <c:pt idx="696">
                  <c:v>3816.5831134999999</c:v>
                </c:pt>
                <c:pt idx="697">
                  <c:v>5032.8260953999998</c:v>
                </c:pt>
                <c:pt idx="698">
                  <c:v>4494.1708802000003</c:v>
                </c:pt>
                <c:pt idx="699">
                  <c:v>2142.2872054999998</c:v>
                </c:pt>
                <c:pt idx="700">
                  <c:v>2216.8288980000002</c:v>
                </c:pt>
                <c:pt idx="701">
                  <c:v>2266.7496719000001</c:v>
                </c:pt>
                <c:pt idx="702">
                  <c:v>2143.7867270000002</c:v>
                </c:pt>
                <c:pt idx="703">
                  <c:v>3935.7972408999999</c:v>
                </c:pt>
                <c:pt idx="704">
                  <c:v>5117.7316100999997</c:v>
                </c:pt>
                <c:pt idx="705">
                  <c:v>4731.1265364999999</c:v>
                </c:pt>
                <c:pt idx="706">
                  <c:v>3057.9197696000001</c:v>
                </c:pt>
                <c:pt idx="707">
                  <c:v>3321.9625492999999</c:v>
                </c:pt>
                <c:pt idx="708">
                  <c:v>3604.4041335000002</c:v>
                </c:pt>
                <c:pt idx="709">
                  <c:v>3748.7126173000001</c:v>
                </c:pt>
                <c:pt idx="710">
                  <c:v>5387.4815987000002</c:v>
                </c:pt>
                <c:pt idx="711">
                  <c:v>6822.9285258</c:v>
                </c:pt>
                <c:pt idx="712">
                  <c:v>6452.1626032000004</c:v>
                </c:pt>
                <c:pt idx="713">
                  <c:v>4489.4793600000003</c:v>
                </c:pt>
                <c:pt idx="714">
                  <c:v>4303.3938308999996</c:v>
                </c:pt>
                <c:pt idx="715">
                  <c:v>4013.6653445000002</c:v>
                </c:pt>
                <c:pt idx="716">
                  <c:v>3927.2935054999998</c:v>
                </c:pt>
                <c:pt idx="717">
                  <c:v>5371.9323338000004</c:v>
                </c:pt>
                <c:pt idx="718">
                  <c:v>6608.9684686999999</c:v>
                </c:pt>
                <c:pt idx="719">
                  <c:v>6100.3596575000001</c:v>
                </c:pt>
                <c:pt idx="720">
                  <c:v>3468.5566663999998</c:v>
                </c:pt>
                <c:pt idx="721">
                  <c:v>3100.7532937000001</c:v>
                </c:pt>
                <c:pt idx="722">
                  <c:v>3171.2575532999999</c:v>
                </c:pt>
                <c:pt idx="723">
                  <c:v>3272.2409524999998</c:v>
                </c:pt>
                <c:pt idx="724">
                  <c:v>4870.4758463999997</c:v>
                </c:pt>
                <c:pt idx="725">
                  <c:v>6662.8017214000001</c:v>
                </c:pt>
                <c:pt idx="726">
                  <c:v>6226.8490691999996</c:v>
                </c:pt>
                <c:pt idx="727">
                  <c:v>3884.1416325</c:v>
                </c:pt>
                <c:pt idx="728">
                  <c:v>4010.0178547</c:v>
                </c:pt>
                <c:pt idx="729">
                  <c:v>4165.4246234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33-442D-A5E9-1AE5A4FE71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66176"/>
        <c:axId val="226566592"/>
      </c:lineChart>
      <c:dateAx>
        <c:axId val="2265661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6566592"/>
        <c:crosses val="autoZero"/>
        <c:auto val="1"/>
        <c:lblOffset val="100"/>
        <c:baseTimeUnit val="days"/>
      </c:dateAx>
      <c:valAx>
        <c:axId val="226566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6566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Activations vs Total Referal co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1 (2)'!$B$1</c:f>
              <c:strCache>
                <c:ptCount val="1"/>
                <c:pt idx="0">
                  <c:v>Activated_user_cou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Sheet1 (2)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heet1 (2)'!$B$2:$B$731</c:f>
              <c:numCache>
                <c:formatCode>0.00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B7-4676-A5DC-3FABB62FB4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4193472"/>
        <c:axId val="1774200128"/>
      </c:lineChart>
      <c:lineChart>
        <c:grouping val="standard"/>
        <c:varyColors val="0"/>
        <c:ser>
          <c:idx val="1"/>
          <c:order val="1"/>
          <c:tx>
            <c:strRef>
              <c:f>'Sheet1 (2)'!$C$1</c:f>
              <c:strCache>
                <c:ptCount val="1"/>
                <c:pt idx="0">
                  <c:v>Total_Referral_Co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Sheet1 (2)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heet1 (2)'!$C$2:$C$731</c:f>
              <c:numCache>
                <c:formatCode>General</c:formatCode>
                <c:ptCount val="730"/>
                <c:pt idx="0">
                  <c:v>936</c:v>
                </c:pt>
                <c:pt idx="1">
                  <c:v>2740.2</c:v>
                </c:pt>
                <c:pt idx="2">
                  <c:v>2107.5</c:v>
                </c:pt>
                <c:pt idx="3">
                  <c:v>2853.6</c:v>
                </c:pt>
                <c:pt idx="4">
                  <c:v>3329.7</c:v>
                </c:pt>
                <c:pt idx="5">
                  <c:v>2535.8999999999996</c:v>
                </c:pt>
                <c:pt idx="6">
                  <c:v>1992.2</c:v>
                </c:pt>
                <c:pt idx="7">
                  <c:v>4527</c:v>
                </c:pt>
                <c:pt idx="8">
                  <c:v>6547.3</c:v>
                </c:pt>
                <c:pt idx="9">
                  <c:v>6787</c:v>
                </c:pt>
                <c:pt idx="10">
                  <c:v>7232.1</c:v>
                </c:pt>
                <c:pt idx="11">
                  <c:v>8836.6</c:v>
                </c:pt>
                <c:pt idx="12">
                  <c:v>7499.2</c:v>
                </c:pt>
                <c:pt idx="13">
                  <c:v>4583.2</c:v>
                </c:pt>
                <c:pt idx="14">
                  <c:v>4965.8</c:v>
                </c:pt>
                <c:pt idx="15">
                  <c:v>5602.2000000000007</c:v>
                </c:pt>
                <c:pt idx="16">
                  <c:v>5964.8</c:v>
                </c:pt>
                <c:pt idx="17">
                  <c:v>6882</c:v>
                </c:pt>
                <c:pt idx="18">
                  <c:v>9192.1</c:v>
                </c:pt>
                <c:pt idx="19">
                  <c:v>6967.9</c:v>
                </c:pt>
                <c:pt idx="20">
                  <c:v>5995.3</c:v>
                </c:pt>
                <c:pt idx="21">
                  <c:v>5450.9</c:v>
                </c:pt>
                <c:pt idx="22">
                  <c:v>6316.1</c:v>
                </c:pt>
                <c:pt idx="23">
                  <c:v>8859.9</c:v>
                </c:pt>
                <c:pt idx="24">
                  <c:v>10868.2</c:v>
                </c:pt>
                <c:pt idx="25">
                  <c:v>15554.5</c:v>
                </c:pt>
                <c:pt idx="26">
                  <c:v>13603.300000000001</c:v>
                </c:pt>
                <c:pt idx="27">
                  <c:v>8935.2000000000007</c:v>
                </c:pt>
                <c:pt idx="28">
                  <c:v>8495.5</c:v>
                </c:pt>
                <c:pt idx="29">
                  <c:v>8751.1</c:v>
                </c:pt>
                <c:pt idx="30">
                  <c:v>9203.4000000000015</c:v>
                </c:pt>
                <c:pt idx="31">
                  <c:v>11553.5</c:v>
                </c:pt>
                <c:pt idx="32">
                  <c:v>16916.3</c:v>
                </c:pt>
                <c:pt idx="33">
                  <c:v>15114</c:v>
                </c:pt>
                <c:pt idx="34">
                  <c:v>9740.7000000000007</c:v>
                </c:pt>
                <c:pt idx="35">
                  <c:v>10502.2</c:v>
                </c:pt>
                <c:pt idx="36">
                  <c:v>10332</c:v>
                </c:pt>
                <c:pt idx="37">
                  <c:v>10456.799999999999</c:v>
                </c:pt>
                <c:pt idx="38">
                  <c:v>14290.4</c:v>
                </c:pt>
                <c:pt idx="39">
                  <c:v>20866.099999999999</c:v>
                </c:pt>
                <c:pt idx="40">
                  <c:v>17688.400000000001</c:v>
                </c:pt>
                <c:pt idx="41">
                  <c:v>10015.1</c:v>
                </c:pt>
                <c:pt idx="42">
                  <c:v>11399.599999999999</c:v>
                </c:pt>
                <c:pt idx="43">
                  <c:v>13219.5</c:v>
                </c:pt>
                <c:pt idx="44">
                  <c:v>15820.3</c:v>
                </c:pt>
                <c:pt idx="45">
                  <c:v>15653.9</c:v>
                </c:pt>
                <c:pt idx="46">
                  <c:v>23230</c:v>
                </c:pt>
                <c:pt idx="47">
                  <c:v>20315.599999999999</c:v>
                </c:pt>
                <c:pt idx="48">
                  <c:v>13409.2</c:v>
                </c:pt>
                <c:pt idx="49">
                  <c:v>13267.6</c:v>
                </c:pt>
                <c:pt idx="50">
                  <c:v>14993.099999999999</c:v>
                </c:pt>
                <c:pt idx="51">
                  <c:v>16160.7</c:v>
                </c:pt>
                <c:pt idx="52">
                  <c:v>20418.8</c:v>
                </c:pt>
                <c:pt idx="53">
                  <c:v>27336.800000000003</c:v>
                </c:pt>
                <c:pt idx="54">
                  <c:v>23137.300000000003</c:v>
                </c:pt>
                <c:pt idx="55">
                  <c:v>17555.2</c:v>
                </c:pt>
                <c:pt idx="56">
                  <c:v>19680.599999999999</c:v>
                </c:pt>
                <c:pt idx="57">
                  <c:v>22014.1</c:v>
                </c:pt>
                <c:pt idx="58">
                  <c:v>25350.1</c:v>
                </c:pt>
                <c:pt idx="59">
                  <c:v>32160.3</c:v>
                </c:pt>
                <c:pt idx="60">
                  <c:v>43482.2</c:v>
                </c:pt>
                <c:pt idx="61">
                  <c:v>38249.5</c:v>
                </c:pt>
                <c:pt idx="62">
                  <c:v>21801.5</c:v>
                </c:pt>
                <c:pt idx="63">
                  <c:v>22879.200000000001</c:v>
                </c:pt>
                <c:pt idx="64">
                  <c:v>29476.9</c:v>
                </c:pt>
                <c:pt idx="65">
                  <c:v>30761</c:v>
                </c:pt>
                <c:pt idx="66">
                  <c:v>40467.800000000003</c:v>
                </c:pt>
                <c:pt idx="67">
                  <c:v>57299</c:v>
                </c:pt>
                <c:pt idx="68">
                  <c:v>52310.5</c:v>
                </c:pt>
                <c:pt idx="69">
                  <c:v>26445.4</c:v>
                </c:pt>
                <c:pt idx="70">
                  <c:v>28023.7</c:v>
                </c:pt>
                <c:pt idx="71">
                  <c:v>28983.300000000003</c:v>
                </c:pt>
                <c:pt idx="72">
                  <c:v>31821.5</c:v>
                </c:pt>
                <c:pt idx="73">
                  <c:v>42763.6</c:v>
                </c:pt>
                <c:pt idx="74">
                  <c:v>63607.199999999997</c:v>
                </c:pt>
                <c:pt idx="75">
                  <c:v>61051.8</c:v>
                </c:pt>
                <c:pt idx="76">
                  <c:v>54337.5</c:v>
                </c:pt>
                <c:pt idx="77">
                  <c:v>37661.600000000006</c:v>
                </c:pt>
                <c:pt idx="78">
                  <c:v>35262.800000000003</c:v>
                </c:pt>
                <c:pt idx="79">
                  <c:v>40014.800000000003</c:v>
                </c:pt>
                <c:pt idx="80">
                  <c:v>57380.1</c:v>
                </c:pt>
                <c:pt idx="81">
                  <c:v>91033.200000000012</c:v>
                </c:pt>
                <c:pt idx="82">
                  <c:v>77895.100000000006</c:v>
                </c:pt>
                <c:pt idx="83">
                  <c:v>40553.5</c:v>
                </c:pt>
                <c:pt idx="84">
                  <c:v>40221.399999999994</c:v>
                </c:pt>
                <c:pt idx="85">
                  <c:v>41837.600000000006</c:v>
                </c:pt>
                <c:pt idx="86">
                  <c:v>45164.800000000003</c:v>
                </c:pt>
                <c:pt idx="87">
                  <c:v>59126.2</c:v>
                </c:pt>
                <c:pt idx="88">
                  <c:v>97192.2</c:v>
                </c:pt>
                <c:pt idx="89">
                  <c:v>84070.399999999994</c:v>
                </c:pt>
                <c:pt idx="90">
                  <c:v>38815.800000000003</c:v>
                </c:pt>
                <c:pt idx="91">
                  <c:v>37560.5</c:v>
                </c:pt>
                <c:pt idx="92">
                  <c:v>44109.600000000006</c:v>
                </c:pt>
                <c:pt idx="93">
                  <c:v>50504</c:v>
                </c:pt>
                <c:pt idx="94">
                  <c:v>71654.899999999994</c:v>
                </c:pt>
                <c:pt idx="95">
                  <c:v>109744.2</c:v>
                </c:pt>
                <c:pt idx="96">
                  <c:v>94215.2</c:v>
                </c:pt>
                <c:pt idx="97">
                  <c:v>41981.3</c:v>
                </c:pt>
                <c:pt idx="98">
                  <c:v>42982.6</c:v>
                </c:pt>
                <c:pt idx="99">
                  <c:v>43980.9</c:v>
                </c:pt>
                <c:pt idx="100">
                  <c:v>46788.2</c:v>
                </c:pt>
                <c:pt idx="101">
                  <c:v>63827.199999999997</c:v>
                </c:pt>
                <c:pt idx="102">
                  <c:v>104347.79999999999</c:v>
                </c:pt>
                <c:pt idx="103">
                  <c:v>80500.899999999994</c:v>
                </c:pt>
                <c:pt idx="104">
                  <c:v>37777.4</c:v>
                </c:pt>
                <c:pt idx="105">
                  <c:v>48429.4</c:v>
                </c:pt>
                <c:pt idx="106">
                  <c:v>44293.399999999994</c:v>
                </c:pt>
                <c:pt idx="107">
                  <c:v>45213.5</c:v>
                </c:pt>
                <c:pt idx="108">
                  <c:v>44529.2</c:v>
                </c:pt>
                <c:pt idx="109">
                  <c:v>67310.100000000006</c:v>
                </c:pt>
                <c:pt idx="110">
                  <c:v>54298.600000000006</c:v>
                </c:pt>
                <c:pt idx="111">
                  <c:v>24683.9</c:v>
                </c:pt>
                <c:pt idx="112">
                  <c:v>28435</c:v>
                </c:pt>
                <c:pt idx="113">
                  <c:v>27413.9</c:v>
                </c:pt>
                <c:pt idx="114">
                  <c:v>30232</c:v>
                </c:pt>
                <c:pt idx="115">
                  <c:v>39076.300000000003</c:v>
                </c:pt>
                <c:pt idx="116">
                  <c:v>63096.7</c:v>
                </c:pt>
                <c:pt idx="117">
                  <c:v>49269.4</c:v>
                </c:pt>
                <c:pt idx="118">
                  <c:v>12642.900000000001</c:v>
                </c:pt>
                <c:pt idx="119">
                  <c:v>11287.1</c:v>
                </c:pt>
                <c:pt idx="120">
                  <c:v>11540.900000000001</c:v>
                </c:pt>
                <c:pt idx="121">
                  <c:v>13729.900000000001</c:v>
                </c:pt>
                <c:pt idx="122">
                  <c:v>24725.599999999999</c:v>
                </c:pt>
                <c:pt idx="123">
                  <c:v>40750.5</c:v>
                </c:pt>
                <c:pt idx="124">
                  <c:v>29035.800000000003</c:v>
                </c:pt>
                <c:pt idx="125">
                  <c:v>12100.3</c:v>
                </c:pt>
                <c:pt idx="126">
                  <c:v>12486.8</c:v>
                </c:pt>
                <c:pt idx="127">
                  <c:v>13515.8</c:v>
                </c:pt>
                <c:pt idx="128">
                  <c:v>13796.8</c:v>
                </c:pt>
                <c:pt idx="129">
                  <c:v>20420</c:v>
                </c:pt>
                <c:pt idx="130">
                  <c:v>32627.8</c:v>
                </c:pt>
                <c:pt idx="131">
                  <c:v>26812.9</c:v>
                </c:pt>
                <c:pt idx="132">
                  <c:v>12422.4</c:v>
                </c:pt>
                <c:pt idx="133">
                  <c:v>11637.400000000001</c:v>
                </c:pt>
                <c:pt idx="134">
                  <c:v>13084.8</c:v>
                </c:pt>
                <c:pt idx="135">
                  <c:v>15122.5</c:v>
                </c:pt>
                <c:pt idx="136">
                  <c:v>20113.2</c:v>
                </c:pt>
                <c:pt idx="137">
                  <c:v>36267.199999999997</c:v>
                </c:pt>
                <c:pt idx="138">
                  <c:v>28238.199999999997</c:v>
                </c:pt>
                <c:pt idx="139">
                  <c:v>19535.3</c:v>
                </c:pt>
                <c:pt idx="140">
                  <c:v>27260.400000000001</c:v>
                </c:pt>
                <c:pt idx="141">
                  <c:v>32107.3</c:v>
                </c:pt>
                <c:pt idx="142">
                  <c:v>40483.199999999997</c:v>
                </c:pt>
                <c:pt idx="143">
                  <c:v>64566.6</c:v>
                </c:pt>
                <c:pt idx="144">
                  <c:v>108113.09999999999</c:v>
                </c:pt>
                <c:pt idx="145">
                  <c:v>74769.3</c:v>
                </c:pt>
                <c:pt idx="146">
                  <c:v>28064.2</c:v>
                </c:pt>
                <c:pt idx="147">
                  <c:v>21932</c:v>
                </c:pt>
                <c:pt idx="148">
                  <c:v>18698.5</c:v>
                </c:pt>
                <c:pt idx="149">
                  <c:v>19910.400000000001</c:v>
                </c:pt>
                <c:pt idx="150">
                  <c:v>30192.9</c:v>
                </c:pt>
                <c:pt idx="151">
                  <c:v>52433.5</c:v>
                </c:pt>
                <c:pt idx="152">
                  <c:v>38972.400000000001</c:v>
                </c:pt>
                <c:pt idx="153">
                  <c:v>15386.2</c:v>
                </c:pt>
                <c:pt idx="154">
                  <c:v>13994.400000000001</c:v>
                </c:pt>
                <c:pt idx="155">
                  <c:v>17343.099999999999</c:v>
                </c:pt>
                <c:pt idx="156">
                  <c:v>18242.099999999999</c:v>
                </c:pt>
                <c:pt idx="157">
                  <c:v>27750.6</c:v>
                </c:pt>
                <c:pt idx="158">
                  <c:v>44281</c:v>
                </c:pt>
                <c:pt idx="159">
                  <c:v>36989.399999999994</c:v>
                </c:pt>
                <c:pt idx="160">
                  <c:v>13868</c:v>
                </c:pt>
                <c:pt idx="161">
                  <c:v>13959.3</c:v>
                </c:pt>
                <c:pt idx="162">
                  <c:v>15211.900000000001</c:v>
                </c:pt>
                <c:pt idx="163">
                  <c:v>16695.099999999999</c:v>
                </c:pt>
                <c:pt idx="164">
                  <c:v>26763.599999999999</c:v>
                </c:pt>
                <c:pt idx="165">
                  <c:v>46710.100000000006</c:v>
                </c:pt>
                <c:pt idx="166">
                  <c:v>37136</c:v>
                </c:pt>
                <c:pt idx="167">
                  <c:v>18811.2</c:v>
                </c:pt>
                <c:pt idx="168">
                  <c:v>19622.5</c:v>
                </c:pt>
                <c:pt idx="169">
                  <c:v>21007.9</c:v>
                </c:pt>
                <c:pt idx="170">
                  <c:v>23417.8</c:v>
                </c:pt>
                <c:pt idx="171">
                  <c:v>37717.300000000003</c:v>
                </c:pt>
                <c:pt idx="172">
                  <c:v>59417.5</c:v>
                </c:pt>
                <c:pt idx="173">
                  <c:v>52018.100000000006</c:v>
                </c:pt>
                <c:pt idx="174">
                  <c:v>21538.5</c:v>
                </c:pt>
                <c:pt idx="175">
                  <c:v>27238.3</c:v>
                </c:pt>
                <c:pt idx="176">
                  <c:v>31915</c:v>
                </c:pt>
                <c:pt idx="177">
                  <c:v>37102.9</c:v>
                </c:pt>
                <c:pt idx="178">
                  <c:v>58392</c:v>
                </c:pt>
                <c:pt idx="179">
                  <c:v>86864.8</c:v>
                </c:pt>
                <c:pt idx="180">
                  <c:v>75057.799999999988</c:v>
                </c:pt>
                <c:pt idx="181">
                  <c:v>29033.9</c:v>
                </c:pt>
                <c:pt idx="182">
                  <c:v>43694.8</c:v>
                </c:pt>
                <c:pt idx="183">
                  <c:v>48501</c:v>
                </c:pt>
                <c:pt idx="184">
                  <c:v>66243.3</c:v>
                </c:pt>
                <c:pt idx="185">
                  <c:v>97236.6</c:v>
                </c:pt>
                <c:pt idx="186">
                  <c:v>149225.4</c:v>
                </c:pt>
                <c:pt idx="187">
                  <c:v>125847.9</c:v>
                </c:pt>
                <c:pt idx="188">
                  <c:v>45759.7</c:v>
                </c:pt>
                <c:pt idx="189">
                  <c:v>46537.1</c:v>
                </c:pt>
                <c:pt idx="190">
                  <c:v>54976.3</c:v>
                </c:pt>
                <c:pt idx="191">
                  <c:v>65331.6</c:v>
                </c:pt>
                <c:pt idx="192">
                  <c:v>95720.2</c:v>
                </c:pt>
                <c:pt idx="193">
                  <c:v>117028.79999999999</c:v>
                </c:pt>
                <c:pt idx="194">
                  <c:v>96806.9</c:v>
                </c:pt>
                <c:pt idx="195">
                  <c:v>56459.9</c:v>
                </c:pt>
                <c:pt idx="196">
                  <c:v>46934.700000000004</c:v>
                </c:pt>
                <c:pt idx="197">
                  <c:v>64877.7</c:v>
                </c:pt>
                <c:pt idx="198">
                  <c:v>45036.1</c:v>
                </c:pt>
                <c:pt idx="199">
                  <c:v>37646.800000000003</c:v>
                </c:pt>
                <c:pt idx="200">
                  <c:v>44779.9</c:v>
                </c:pt>
                <c:pt idx="201">
                  <c:v>44878.2</c:v>
                </c:pt>
                <c:pt idx="202">
                  <c:v>34535.5</c:v>
                </c:pt>
                <c:pt idx="203">
                  <c:v>128647.9</c:v>
                </c:pt>
                <c:pt idx="204">
                  <c:v>110585</c:v>
                </c:pt>
                <c:pt idx="205">
                  <c:v>47695.8</c:v>
                </c:pt>
                <c:pt idx="206">
                  <c:v>58312.700000000004</c:v>
                </c:pt>
                <c:pt idx="207">
                  <c:v>83587.3</c:v>
                </c:pt>
                <c:pt idx="208">
                  <c:v>70338.3</c:v>
                </c:pt>
                <c:pt idx="209">
                  <c:v>34939.699999999997</c:v>
                </c:pt>
                <c:pt idx="210">
                  <c:v>28121.300000000003</c:v>
                </c:pt>
                <c:pt idx="211">
                  <c:v>20710.400000000001</c:v>
                </c:pt>
                <c:pt idx="212">
                  <c:v>21060.6</c:v>
                </c:pt>
                <c:pt idx="213">
                  <c:v>28143.300000000003</c:v>
                </c:pt>
                <c:pt idx="214">
                  <c:v>50462.399999999994</c:v>
                </c:pt>
                <c:pt idx="215">
                  <c:v>38628.699999999997</c:v>
                </c:pt>
                <c:pt idx="216">
                  <c:v>17902.199999999997</c:v>
                </c:pt>
                <c:pt idx="217">
                  <c:v>17239.2</c:v>
                </c:pt>
                <c:pt idx="218">
                  <c:v>16513.099999999999</c:v>
                </c:pt>
                <c:pt idx="219">
                  <c:v>19095.400000000001</c:v>
                </c:pt>
                <c:pt idx="220">
                  <c:v>27256.7</c:v>
                </c:pt>
                <c:pt idx="221">
                  <c:v>47864.600000000006</c:v>
                </c:pt>
                <c:pt idx="222">
                  <c:v>37352.300000000003</c:v>
                </c:pt>
                <c:pt idx="223">
                  <c:v>14889</c:v>
                </c:pt>
                <c:pt idx="224">
                  <c:v>14059</c:v>
                </c:pt>
                <c:pt idx="225">
                  <c:v>15539.5</c:v>
                </c:pt>
                <c:pt idx="226">
                  <c:v>16258.7</c:v>
                </c:pt>
                <c:pt idx="227">
                  <c:v>25638.799999999999</c:v>
                </c:pt>
                <c:pt idx="228">
                  <c:v>46414.8</c:v>
                </c:pt>
                <c:pt idx="229">
                  <c:v>39557.300000000003</c:v>
                </c:pt>
                <c:pt idx="230">
                  <c:v>15229.8</c:v>
                </c:pt>
                <c:pt idx="231">
                  <c:v>13694.2</c:v>
                </c:pt>
                <c:pt idx="232">
                  <c:v>14903.5</c:v>
                </c:pt>
                <c:pt idx="233">
                  <c:v>15709.9</c:v>
                </c:pt>
                <c:pt idx="234">
                  <c:v>25747</c:v>
                </c:pt>
                <c:pt idx="235">
                  <c:v>47754.8</c:v>
                </c:pt>
                <c:pt idx="236">
                  <c:v>37046.5</c:v>
                </c:pt>
                <c:pt idx="237">
                  <c:v>15285.5</c:v>
                </c:pt>
                <c:pt idx="238">
                  <c:v>13762.1</c:v>
                </c:pt>
                <c:pt idx="239">
                  <c:v>14324.900000000001</c:v>
                </c:pt>
                <c:pt idx="240">
                  <c:v>15769</c:v>
                </c:pt>
                <c:pt idx="241">
                  <c:v>24117.200000000001</c:v>
                </c:pt>
                <c:pt idx="242">
                  <c:v>47007.3</c:v>
                </c:pt>
                <c:pt idx="243">
                  <c:v>42375</c:v>
                </c:pt>
                <c:pt idx="244">
                  <c:v>15414.8</c:v>
                </c:pt>
                <c:pt idx="245">
                  <c:v>21125.5</c:v>
                </c:pt>
                <c:pt idx="246">
                  <c:v>25746.300000000003</c:v>
                </c:pt>
                <c:pt idx="247">
                  <c:v>28683.5</c:v>
                </c:pt>
                <c:pt idx="248">
                  <c:v>47968.3</c:v>
                </c:pt>
                <c:pt idx="249">
                  <c:v>94332.5</c:v>
                </c:pt>
                <c:pt idx="250">
                  <c:v>77723</c:v>
                </c:pt>
                <c:pt idx="251">
                  <c:v>31531</c:v>
                </c:pt>
                <c:pt idx="252">
                  <c:v>29057.200000000001</c:v>
                </c:pt>
                <c:pt idx="253">
                  <c:v>27326.5</c:v>
                </c:pt>
                <c:pt idx="254">
                  <c:v>32932.300000000003</c:v>
                </c:pt>
                <c:pt idx="255">
                  <c:v>42413.4</c:v>
                </c:pt>
                <c:pt idx="256">
                  <c:v>75818.7</c:v>
                </c:pt>
                <c:pt idx="257">
                  <c:v>59965.1</c:v>
                </c:pt>
                <c:pt idx="258">
                  <c:v>21809.3</c:v>
                </c:pt>
                <c:pt idx="259">
                  <c:v>21423</c:v>
                </c:pt>
                <c:pt idx="260">
                  <c:v>23304</c:v>
                </c:pt>
                <c:pt idx="261">
                  <c:v>26867.1</c:v>
                </c:pt>
                <c:pt idx="262">
                  <c:v>41025.9</c:v>
                </c:pt>
                <c:pt idx="263">
                  <c:v>75540.899999999994</c:v>
                </c:pt>
                <c:pt idx="264">
                  <c:v>56680.3</c:v>
                </c:pt>
                <c:pt idx="265">
                  <c:v>21334</c:v>
                </c:pt>
                <c:pt idx="266">
                  <c:v>19551</c:v>
                </c:pt>
                <c:pt idx="267">
                  <c:v>22231.1</c:v>
                </c:pt>
                <c:pt idx="268">
                  <c:v>28614.600000000002</c:v>
                </c:pt>
                <c:pt idx="269">
                  <c:v>38779.9</c:v>
                </c:pt>
                <c:pt idx="270">
                  <c:v>67154.899999999994</c:v>
                </c:pt>
                <c:pt idx="271">
                  <c:v>52086.3</c:v>
                </c:pt>
                <c:pt idx="272">
                  <c:v>23244.799999999999</c:v>
                </c:pt>
                <c:pt idx="273">
                  <c:v>19043.5</c:v>
                </c:pt>
                <c:pt idx="274">
                  <c:v>20211.8</c:v>
                </c:pt>
                <c:pt idx="275">
                  <c:v>19869</c:v>
                </c:pt>
                <c:pt idx="276">
                  <c:v>30281.599999999999</c:v>
                </c:pt>
                <c:pt idx="277">
                  <c:v>47158.299999999996</c:v>
                </c:pt>
                <c:pt idx="278">
                  <c:v>36325</c:v>
                </c:pt>
                <c:pt idx="279">
                  <c:v>17243.099999999999</c:v>
                </c:pt>
                <c:pt idx="280">
                  <c:v>12960.9</c:v>
                </c:pt>
                <c:pt idx="281">
                  <c:v>12366.5</c:v>
                </c:pt>
                <c:pt idx="282">
                  <c:v>12769.3</c:v>
                </c:pt>
                <c:pt idx="283">
                  <c:v>12929</c:v>
                </c:pt>
                <c:pt idx="284">
                  <c:v>11250.4</c:v>
                </c:pt>
                <c:pt idx="285">
                  <c:v>8643.2000000000007</c:v>
                </c:pt>
                <c:pt idx="286">
                  <c:v>6934.2</c:v>
                </c:pt>
                <c:pt idx="287">
                  <c:v>2801.1</c:v>
                </c:pt>
                <c:pt idx="288">
                  <c:v>2165.5</c:v>
                </c:pt>
                <c:pt idx="289">
                  <c:v>1708.1000000000001</c:v>
                </c:pt>
                <c:pt idx="290">
                  <c:v>2187.5</c:v>
                </c:pt>
                <c:pt idx="291">
                  <c:v>2027.2</c:v>
                </c:pt>
                <c:pt idx="292">
                  <c:v>1789.3</c:v>
                </c:pt>
                <c:pt idx="293">
                  <c:v>1550.1999999999998</c:v>
                </c:pt>
                <c:pt idx="294">
                  <c:v>593.9</c:v>
                </c:pt>
                <c:pt idx="295">
                  <c:v>487.8</c:v>
                </c:pt>
                <c:pt idx="296">
                  <c:v>447.7</c:v>
                </c:pt>
                <c:pt idx="297">
                  <c:v>500.7</c:v>
                </c:pt>
                <c:pt idx="298">
                  <c:v>443</c:v>
                </c:pt>
                <c:pt idx="299">
                  <c:v>460.1</c:v>
                </c:pt>
                <c:pt idx="300">
                  <c:v>433.09999999999997</c:v>
                </c:pt>
                <c:pt idx="301">
                  <c:v>410.5</c:v>
                </c:pt>
                <c:pt idx="302">
                  <c:v>338.4</c:v>
                </c:pt>
                <c:pt idx="303">
                  <c:v>462.4</c:v>
                </c:pt>
                <c:pt idx="304">
                  <c:v>358.79999999999995</c:v>
                </c:pt>
                <c:pt idx="305">
                  <c:v>410.1</c:v>
                </c:pt>
                <c:pt idx="306">
                  <c:v>333.2</c:v>
                </c:pt>
                <c:pt idx="307">
                  <c:v>302.70000000000005</c:v>
                </c:pt>
                <c:pt idx="308">
                  <c:v>337.4</c:v>
                </c:pt>
                <c:pt idx="309">
                  <c:v>278.60000000000002</c:v>
                </c:pt>
                <c:pt idx="310">
                  <c:v>344.2</c:v>
                </c:pt>
                <c:pt idx="311">
                  <c:v>420.3</c:v>
                </c:pt>
                <c:pt idx="312">
                  <c:v>348.5</c:v>
                </c:pt>
                <c:pt idx="313">
                  <c:v>348.4</c:v>
                </c:pt>
                <c:pt idx="314">
                  <c:v>275.3</c:v>
                </c:pt>
                <c:pt idx="315">
                  <c:v>237.4</c:v>
                </c:pt>
                <c:pt idx="316">
                  <c:v>263</c:v>
                </c:pt>
                <c:pt idx="317">
                  <c:v>260.89999999999998</c:v>
                </c:pt>
                <c:pt idx="318">
                  <c:v>314.89999999999998</c:v>
                </c:pt>
                <c:pt idx="319">
                  <c:v>315.29999999999995</c:v>
                </c:pt>
                <c:pt idx="320">
                  <c:v>253.7</c:v>
                </c:pt>
                <c:pt idx="321">
                  <c:v>316</c:v>
                </c:pt>
                <c:pt idx="322">
                  <c:v>296</c:v>
                </c:pt>
                <c:pt idx="323">
                  <c:v>288.8</c:v>
                </c:pt>
                <c:pt idx="324">
                  <c:v>3.4</c:v>
                </c:pt>
                <c:pt idx="325">
                  <c:v>290.7</c:v>
                </c:pt>
                <c:pt idx="326">
                  <c:v>371</c:v>
                </c:pt>
                <c:pt idx="327">
                  <c:v>364.4</c:v>
                </c:pt>
                <c:pt idx="328">
                  <c:v>3.4</c:v>
                </c:pt>
                <c:pt idx="329">
                  <c:v>0</c:v>
                </c:pt>
                <c:pt idx="330">
                  <c:v>198</c:v>
                </c:pt>
                <c:pt idx="331">
                  <c:v>345.5</c:v>
                </c:pt>
                <c:pt idx="332">
                  <c:v>398.2</c:v>
                </c:pt>
                <c:pt idx="333">
                  <c:v>460.3</c:v>
                </c:pt>
                <c:pt idx="334">
                  <c:v>462.90000000000003</c:v>
                </c:pt>
                <c:pt idx="335">
                  <c:v>384.1</c:v>
                </c:pt>
                <c:pt idx="336">
                  <c:v>395.79999999999995</c:v>
                </c:pt>
                <c:pt idx="337">
                  <c:v>403.8</c:v>
                </c:pt>
                <c:pt idx="338">
                  <c:v>396.1</c:v>
                </c:pt>
                <c:pt idx="339">
                  <c:v>450.5</c:v>
                </c:pt>
                <c:pt idx="340">
                  <c:v>518.6</c:v>
                </c:pt>
                <c:pt idx="341">
                  <c:v>447.29999999999995</c:v>
                </c:pt>
                <c:pt idx="342">
                  <c:v>346.3</c:v>
                </c:pt>
                <c:pt idx="343">
                  <c:v>387.1</c:v>
                </c:pt>
                <c:pt idx="344">
                  <c:v>102.7</c:v>
                </c:pt>
                <c:pt idx="345">
                  <c:v>120.1</c:v>
                </c:pt>
                <c:pt idx="346">
                  <c:v>65.5</c:v>
                </c:pt>
                <c:pt idx="347">
                  <c:v>63.1</c:v>
                </c:pt>
                <c:pt idx="348">
                  <c:v>19.5</c:v>
                </c:pt>
                <c:pt idx="349">
                  <c:v>20.7</c:v>
                </c:pt>
                <c:pt idx="350">
                  <c:v>2.2000000000000002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324.10000000000002</c:v>
                </c:pt>
                <c:pt idx="387">
                  <c:v>490</c:v>
                </c:pt>
                <c:pt idx="388">
                  <c:v>673.3</c:v>
                </c:pt>
                <c:pt idx="389">
                  <c:v>1297.2</c:v>
                </c:pt>
                <c:pt idx="390">
                  <c:v>1154.7</c:v>
                </c:pt>
                <c:pt idx="391">
                  <c:v>643.4</c:v>
                </c:pt>
                <c:pt idx="392">
                  <c:v>666.1</c:v>
                </c:pt>
                <c:pt idx="393">
                  <c:v>571.5</c:v>
                </c:pt>
                <c:pt idx="394">
                  <c:v>586.70000000000005</c:v>
                </c:pt>
                <c:pt idx="395">
                  <c:v>752.2</c:v>
                </c:pt>
                <c:pt idx="396">
                  <c:v>986.6</c:v>
                </c:pt>
                <c:pt idx="397">
                  <c:v>997.40000000000009</c:v>
                </c:pt>
                <c:pt idx="398">
                  <c:v>424</c:v>
                </c:pt>
                <c:pt idx="399">
                  <c:v>498</c:v>
                </c:pt>
                <c:pt idx="400">
                  <c:v>61.699999999999996</c:v>
                </c:pt>
                <c:pt idx="401">
                  <c:v>68.400000000000006</c:v>
                </c:pt>
                <c:pt idx="402">
                  <c:v>1069</c:v>
                </c:pt>
                <c:pt idx="403">
                  <c:v>1046.2</c:v>
                </c:pt>
                <c:pt idx="404">
                  <c:v>670.9</c:v>
                </c:pt>
                <c:pt idx="405">
                  <c:v>311.10000000000002</c:v>
                </c:pt>
                <c:pt idx="406">
                  <c:v>306.79999999999995</c:v>
                </c:pt>
                <c:pt idx="407">
                  <c:v>381</c:v>
                </c:pt>
                <c:pt idx="408">
                  <c:v>442.4</c:v>
                </c:pt>
                <c:pt idx="409">
                  <c:v>540</c:v>
                </c:pt>
                <c:pt idx="410">
                  <c:v>804.2</c:v>
                </c:pt>
                <c:pt idx="411">
                  <c:v>768.3</c:v>
                </c:pt>
                <c:pt idx="412">
                  <c:v>572.79999999999995</c:v>
                </c:pt>
                <c:pt idx="413">
                  <c:v>725.90000000000009</c:v>
                </c:pt>
                <c:pt idx="414">
                  <c:v>640.4</c:v>
                </c:pt>
                <c:pt idx="415">
                  <c:v>1000.6</c:v>
                </c:pt>
                <c:pt idx="416">
                  <c:v>2393.6</c:v>
                </c:pt>
                <c:pt idx="417">
                  <c:v>3759.7</c:v>
                </c:pt>
                <c:pt idx="418">
                  <c:v>3058.3</c:v>
                </c:pt>
                <c:pt idx="419">
                  <c:v>1340.1</c:v>
                </c:pt>
                <c:pt idx="420">
                  <c:v>1561.9</c:v>
                </c:pt>
                <c:pt idx="421">
                  <c:v>1599.3999999999999</c:v>
                </c:pt>
                <c:pt idx="422">
                  <c:v>1532.1</c:v>
                </c:pt>
                <c:pt idx="423">
                  <c:v>2552.3000000000002</c:v>
                </c:pt>
                <c:pt idx="424">
                  <c:v>4504.3999999999996</c:v>
                </c:pt>
                <c:pt idx="425">
                  <c:v>3546.6000000000004</c:v>
                </c:pt>
                <c:pt idx="426">
                  <c:v>2079.6999999999998</c:v>
                </c:pt>
                <c:pt idx="427">
                  <c:v>1948</c:v>
                </c:pt>
                <c:pt idx="428">
                  <c:v>2377.3000000000002</c:v>
                </c:pt>
                <c:pt idx="429">
                  <c:v>2135.8000000000002</c:v>
                </c:pt>
                <c:pt idx="430">
                  <c:v>2686.5</c:v>
                </c:pt>
                <c:pt idx="431">
                  <c:v>4750.5</c:v>
                </c:pt>
                <c:pt idx="432">
                  <c:v>3769.1</c:v>
                </c:pt>
                <c:pt idx="433">
                  <c:v>1983.9</c:v>
                </c:pt>
                <c:pt idx="434">
                  <c:v>1953.8</c:v>
                </c:pt>
                <c:pt idx="435">
                  <c:v>2409.4</c:v>
                </c:pt>
                <c:pt idx="436">
                  <c:v>2085.9</c:v>
                </c:pt>
                <c:pt idx="437">
                  <c:v>2810.6</c:v>
                </c:pt>
                <c:pt idx="438">
                  <c:v>5045.2</c:v>
                </c:pt>
                <c:pt idx="439">
                  <c:v>4634.5</c:v>
                </c:pt>
                <c:pt idx="440">
                  <c:v>2666.9</c:v>
                </c:pt>
                <c:pt idx="441">
                  <c:v>2859.4</c:v>
                </c:pt>
                <c:pt idx="442">
                  <c:v>2898.2999999999997</c:v>
                </c:pt>
                <c:pt idx="443">
                  <c:v>3356.9</c:v>
                </c:pt>
                <c:pt idx="444">
                  <c:v>4445.2</c:v>
                </c:pt>
                <c:pt idx="445">
                  <c:v>6788</c:v>
                </c:pt>
                <c:pt idx="446">
                  <c:v>7393.3</c:v>
                </c:pt>
                <c:pt idx="447">
                  <c:v>5219.8</c:v>
                </c:pt>
                <c:pt idx="448">
                  <c:v>3146.3</c:v>
                </c:pt>
                <c:pt idx="449">
                  <c:v>2517.5</c:v>
                </c:pt>
                <c:pt idx="450">
                  <c:v>2916.9</c:v>
                </c:pt>
                <c:pt idx="451">
                  <c:v>3624.6</c:v>
                </c:pt>
                <c:pt idx="452">
                  <c:v>6273.9</c:v>
                </c:pt>
                <c:pt idx="453">
                  <c:v>4871.5999999999995</c:v>
                </c:pt>
                <c:pt idx="454">
                  <c:v>1984.1</c:v>
                </c:pt>
                <c:pt idx="455">
                  <c:v>2234.8000000000002</c:v>
                </c:pt>
                <c:pt idx="456">
                  <c:v>2467.8000000000002</c:v>
                </c:pt>
                <c:pt idx="457">
                  <c:v>992</c:v>
                </c:pt>
                <c:pt idx="458">
                  <c:v>4409.7</c:v>
                </c:pt>
                <c:pt idx="459">
                  <c:v>10294.9</c:v>
                </c:pt>
                <c:pt idx="460">
                  <c:v>10614.3</c:v>
                </c:pt>
                <c:pt idx="461">
                  <c:v>6158.4</c:v>
                </c:pt>
                <c:pt idx="462">
                  <c:v>6296.8</c:v>
                </c:pt>
                <c:pt idx="463">
                  <c:v>6861.3</c:v>
                </c:pt>
                <c:pt idx="464">
                  <c:v>8226</c:v>
                </c:pt>
                <c:pt idx="465">
                  <c:v>13475.1</c:v>
                </c:pt>
                <c:pt idx="466">
                  <c:v>24530.9</c:v>
                </c:pt>
                <c:pt idx="467">
                  <c:v>21539.599999999999</c:v>
                </c:pt>
                <c:pt idx="468">
                  <c:v>9175.0000000000018</c:v>
                </c:pt>
                <c:pt idx="469">
                  <c:v>8171.7999999999993</c:v>
                </c:pt>
                <c:pt idx="470">
                  <c:v>8898.1</c:v>
                </c:pt>
                <c:pt idx="471">
                  <c:v>8712.8000000000011</c:v>
                </c:pt>
                <c:pt idx="472">
                  <c:v>12237.9</c:v>
                </c:pt>
                <c:pt idx="473">
                  <c:v>21188.1</c:v>
                </c:pt>
                <c:pt idx="474">
                  <c:v>15911.199999999999</c:v>
                </c:pt>
                <c:pt idx="475">
                  <c:v>9033.7000000000007</c:v>
                </c:pt>
                <c:pt idx="476">
                  <c:v>8320.9</c:v>
                </c:pt>
                <c:pt idx="477">
                  <c:v>10501.199999999999</c:v>
                </c:pt>
                <c:pt idx="478">
                  <c:v>9925.0999999999985</c:v>
                </c:pt>
                <c:pt idx="479">
                  <c:v>17490.7</c:v>
                </c:pt>
                <c:pt idx="480">
                  <c:v>23041.399999999998</c:v>
                </c:pt>
                <c:pt idx="481">
                  <c:v>22879.4</c:v>
                </c:pt>
                <c:pt idx="482">
                  <c:v>9537.1999999999989</c:v>
                </c:pt>
                <c:pt idx="483">
                  <c:v>9130.1</c:v>
                </c:pt>
                <c:pt idx="484">
                  <c:v>9652.6</c:v>
                </c:pt>
                <c:pt idx="485">
                  <c:v>10585.5</c:v>
                </c:pt>
                <c:pt idx="486">
                  <c:v>14431.199999999999</c:v>
                </c:pt>
                <c:pt idx="487">
                  <c:v>23600.1</c:v>
                </c:pt>
                <c:pt idx="488">
                  <c:v>19166.600000000002</c:v>
                </c:pt>
                <c:pt idx="489">
                  <c:v>9947.5</c:v>
                </c:pt>
                <c:pt idx="490">
                  <c:v>11112.099999999999</c:v>
                </c:pt>
                <c:pt idx="491">
                  <c:v>11327.7</c:v>
                </c:pt>
                <c:pt idx="492">
                  <c:v>12740.5</c:v>
                </c:pt>
                <c:pt idx="493">
                  <c:v>16916.300000000003</c:v>
                </c:pt>
                <c:pt idx="494">
                  <c:v>23321.300000000003</c:v>
                </c:pt>
                <c:pt idx="495">
                  <c:v>15875.199999999999</c:v>
                </c:pt>
                <c:pt idx="496">
                  <c:v>9374.8000000000011</c:v>
                </c:pt>
                <c:pt idx="497">
                  <c:v>8963.6</c:v>
                </c:pt>
                <c:pt idx="498">
                  <c:v>12447.3</c:v>
                </c:pt>
                <c:pt idx="499">
                  <c:v>12412</c:v>
                </c:pt>
                <c:pt idx="500">
                  <c:v>16272.2</c:v>
                </c:pt>
                <c:pt idx="501">
                  <c:v>24235.9</c:v>
                </c:pt>
                <c:pt idx="502">
                  <c:v>19342.600000000002</c:v>
                </c:pt>
                <c:pt idx="503">
                  <c:v>14672.2</c:v>
                </c:pt>
                <c:pt idx="504">
                  <c:v>14282.2</c:v>
                </c:pt>
                <c:pt idx="505">
                  <c:v>15718.5</c:v>
                </c:pt>
                <c:pt idx="506">
                  <c:v>16220.100000000002</c:v>
                </c:pt>
                <c:pt idx="507">
                  <c:v>19797.3</c:v>
                </c:pt>
                <c:pt idx="508">
                  <c:v>28986.100000000002</c:v>
                </c:pt>
                <c:pt idx="509">
                  <c:v>22701.3</c:v>
                </c:pt>
                <c:pt idx="510">
                  <c:v>4154.5</c:v>
                </c:pt>
                <c:pt idx="511">
                  <c:v>1814.9</c:v>
                </c:pt>
                <c:pt idx="512">
                  <c:v>1588</c:v>
                </c:pt>
                <c:pt idx="513">
                  <c:v>532.19999999999993</c:v>
                </c:pt>
                <c:pt idx="514">
                  <c:v>341.1</c:v>
                </c:pt>
                <c:pt idx="515">
                  <c:v>206.5</c:v>
                </c:pt>
                <c:pt idx="516">
                  <c:v>56</c:v>
                </c:pt>
                <c:pt idx="517">
                  <c:v>5</c:v>
                </c:pt>
                <c:pt idx="518">
                  <c:v>24.1</c:v>
                </c:pt>
                <c:pt idx="519">
                  <c:v>4.5</c:v>
                </c:pt>
                <c:pt idx="520">
                  <c:v>2.8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3.4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769.8</c:v>
                </c:pt>
                <c:pt idx="541">
                  <c:v>1409.1000000000001</c:v>
                </c:pt>
                <c:pt idx="542">
                  <c:v>2419.2000000000003</c:v>
                </c:pt>
                <c:pt idx="543">
                  <c:v>4018.4</c:v>
                </c:pt>
                <c:pt idx="544">
                  <c:v>3599.6</c:v>
                </c:pt>
                <c:pt idx="545">
                  <c:v>2036</c:v>
                </c:pt>
                <c:pt idx="546">
                  <c:v>1812.3999999999999</c:v>
                </c:pt>
                <c:pt idx="547">
                  <c:v>1616</c:v>
                </c:pt>
                <c:pt idx="548">
                  <c:v>2265.4</c:v>
                </c:pt>
                <c:pt idx="549">
                  <c:v>3081.2999999999997</c:v>
                </c:pt>
                <c:pt idx="550">
                  <c:v>4449</c:v>
                </c:pt>
                <c:pt idx="551">
                  <c:v>3591.3</c:v>
                </c:pt>
                <c:pt idx="552">
                  <c:v>2249.8000000000002</c:v>
                </c:pt>
                <c:pt idx="553">
                  <c:v>2415.5</c:v>
                </c:pt>
                <c:pt idx="554">
                  <c:v>1601.9</c:v>
                </c:pt>
                <c:pt idx="555">
                  <c:v>1398.6999999999998</c:v>
                </c:pt>
                <c:pt idx="556">
                  <c:v>2027.2</c:v>
                </c:pt>
                <c:pt idx="557">
                  <c:v>2369.5</c:v>
                </c:pt>
                <c:pt idx="558">
                  <c:v>1730</c:v>
                </c:pt>
                <c:pt idx="559">
                  <c:v>1442.8</c:v>
                </c:pt>
                <c:pt idx="560">
                  <c:v>1561.8</c:v>
                </c:pt>
                <c:pt idx="561">
                  <c:v>1627.8</c:v>
                </c:pt>
                <c:pt idx="562">
                  <c:v>1930.8000000000002</c:v>
                </c:pt>
                <c:pt idx="563">
                  <c:v>4100.3</c:v>
                </c:pt>
                <c:pt idx="564">
                  <c:v>2348.6</c:v>
                </c:pt>
                <c:pt idx="565">
                  <c:v>1898</c:v>
                </c:pt>
                <c:pt idx="566">
                  <c:v>1348.8999999999999</c:v>
                </c:pt>
                <c:pt idx="567">
                  <c:v>1379.7</c:v>
                </c:pt>
                <c:pt idx="568">
                  <c:v>1521.8999999999999</c:v>
                </c:pt>
                <c:pt idx="569">
                  <c:v>2799.4</c:v>
                </c:pt>
                <c:pt idx="570">
                  <c:v>2946</c:v>
                </c:pt>
                <c:pt idx="571">
                  <c:v>1677.9</c:v>
                </c:pt>
                <c:pt idx="572">
                  <c:v>1821.3</c:v>
                </c:pt>
                <c:pt idx="573">
                  <c:v>1373.8</c:v>
                </c:pt>
                <c:pt idx="574">
                  <c:v>1070.7</c:v>
                </c:pt>
                <c:pt idx="575">
                  <c:v>1101.8999999999999</c:v>
                </c:pt>
                <c:pt idx="576">
                  <c:v>1284.3</c:v>
                </c:pt>
                <c:pt idx="577">
                  <c:v>1330.8999999999999</c:v>
                </c:pt>
                <c:pt idx="578">
                  <c:v>1532.6</c:v>
                </c:pt>
                <c:pt idx="579">
                  <c:v>1513.1999999999998</c:v>
                </c:pt>
                <c:pt idx="580">
                  <c:v>1004.5</c:v>
                </c:pt>
                <c:pt idx="581">
                  <c:v>399.6</c:v>
                </c:pt>
                <c:pt idx="582">
                  <c:v>263.10000000000002</c:v>
                </c:pt>
                <c:pt idx="583">
                  <c:v>131.19999999999999</c:v>
                </c:pt>
                <c:pt idx="584">
                  <c:v>71.400000000000006</c:v>
                </c:pt>
                <c:pt idx="585">
                  <c:v>132.69999999999999</c:v>
                </c:pt>
                <c:pt idx="586">
                  <c:v>89.4</c:v>
                </c:pt>
                <c:pt idx="587">
                  <c:v>23</c:v>
                </c:pt>
                <c:pt idx="588">
                  <c:v>628.90000000000009</c:v>
                </c:pt>
                <c:pt idx="589">
                  <c:v>755.5</c:v>
                </c:pt>
                <c:pt idx="590">
                  <c:v>714</c:v>
                </c:pt>
                <c:pt idx="591">
                  <c:v>992.3</c:v>
                </c:pt>
                <c:pt idx="592">
                  <c:v>1325.9</c:v>
                </c:pt>
                <c:pt idx="593">
                  <c:v>1506.3000000000002</c:v>
                </c:pt>
                <c:pt idx="594">
                  <c:v>1045.7</c:v>
                </c:pt>
                <c:pt idx="595">
                  <c:v>1066.0999999999999</c:v>
                </c:pt>
                <c:pt idx="596">
                  <c:v>1000.8000000000001</c:v>
                </c:pt>
                <c:pt idx="597">
                  <c:v>1119.9000000000001</c:v>
                </c:pt>
                <c:pt idx="598">
                  <c:v>1537.7</c:v>
                </c:pt>
                <c:pt idx="599">
                  <c:v>1821.9</c:v>
                </c:pt>
                <c:pt idx="600">
                  <c:v>1506.9</c:v>
                </c:pt>
                <c:pt idx="601">
                  <c:v>1110.0999999999999</c:v>
                </c:pt>
                <c:pt idx="602">
                  <c:v>776.6</c:v>
                </c:pt>
                <c:pt idx="603">
                  <c:v>1052.4000000000001</c:v>
                </c:pt>
                <c:pt idx="604">
                  <c:v>1052.7</c:v>
                </c:pt>
                <c:pt idx="605">
                  <c:v>1366.5</c:v>
                </c:pt>
                <c:pt idx="606">
                  <c:v>1977.5000000000002</c:v>
                </c:pt>
                <c:pt idx="607">
                  <c:v>1819</c:v>
                </c:pt>
                <c:pt idx="608">
                  <c:v>1405.5</c:v>
                </c:pt>
                <c:pt idx="609">
                  <c:v>1291.0999999999999</c:v>
                </c:pt>
                <c:pt idx="610">
                  <c:v>1352.5</c:v>
                </c:pt>
                <c:pt idx="611">
                  <c:v>1252.2</c:v>
                </c:pt>
                <c:pt idx="612">
                  <c:v>1693.3</c:v>
                </c:pt>
                <c:pt idx="613">
                  <c:v>2083.8000000000002</c:v>
                </c:pt>
                <c:pt idx="614">
                  <c:v>2026.8</c:v>
                </c:pt>
                <c:pt idx="615">
                  <c:v>1632</c:v>
                </c:pt>
                <c:pt idx="616">
                  <c:v>1318.5</c:v>
                </c:pt>
                <c:pt idx="617">
                  <c:v>1431.6000000000001</c:v>
                </c:pt>
                <c:pt idx="618">
                  <c:v>1196.5</c:v>
                </c:pt>
                <c:pt idx="619">
                  <c:v>1552.3</c:v>
                </c:pt>
                <c:pt idx="620">
                  <c:v>1971.2</c:v>
                </c:pt>
                <c:pt idx="621">
                  <c:v>1633.8999999999999</c:v>
                </c:pt>
                <c:pt idx="622">
                  <c:v>1079.5999999999999</c:v>
                </c:pt>
                <c:pt idx="623">
                  <c:v>1282.3999999999999</c:v>
                </c:pt>
                <c:pt idx="624">
                  <c:v>1288.4000000000001</c:v>
                </c:pt>
                <c:pt idx="625">
                  <c:v>1219</c:v>
                </c:pt>
                <c:pt idx="626">
                  <c:v>1713.8</c:v>
                </c:pt>
                <c:pt idx="627">
                  <c:v>2092.6999999999998</c:v>
                </c:pt>
                <c:pt idx="628">
                  <c:v>2030.3</c:v>
                </c:pt>
                <c:pt idx="629">
                  <c:v>1570.1000000000001</c:v>
                </c:pt>
                <c:pt idx="630">
                  <c:v>1351.3000000000002</c:v>
                </c:pt>
                <c:pt idx="631">
                  <c:v>1272.5</c:v>
                </c:pt>
                <c:pt idx="632">
                  <c:v>1094.9000000000001</c:v>
                </c:pt>
                <c:pt idx="633">
                  <c:v>1581</c:v>
                </c:pt>
                <c:pt idx="634">
                  <c:v>1107.4000000000001</c:v>
                </c:pt>
                <c:pt idx="635">
                  <c:v>1010.7</c:v>
                </c:pt>
                <c:pt idx="636">
                  <c:v>815.2</c:v>
                </c:pt>
                <c:pt idx="637">
                  <c:v>766.3</c:v>
                </c:pt>
                <c:pt idx="638">
                  <c:v>831.5</c:v>
                </c:pt>
                <c:pt idx="639">
                  <c:v>638.59999999999991</c:v>
                </c:pt>
                <c:pt idx="640">
                  <c:v>933.5</c:v>
                </c:pt>
                <c:pt idx="641">
                  <c:v>1222.9000000000001</c:v>
                </c:pt>
                <c:pt idx="642">
                  <c:v>1147.3</c:v>
                </c:pt>
                <c:pt idx="643">
                  <c:v>801.8</c:v>
                </c:pt>
                <c:pt idx="644">
                  <c:v>703.4</c:v>
                </c:pt>
                <c:pt idx="645">
                  <c:v>680.7</c:v>
                </c:pt>
                <c:pt idx="646">
                  <c:v>614.69999999999993</c:v>
                </c:pt>
                <c:pt idx="647">
                  <c:v>879.2</c:v>
                </c:pt>
                <c:pt idx="648">
                  <c:v>1226.7</c:v>
                </c:pt>
                <c:pt idx="649">
                  <c:v>1057.2</c:v>
                </c:pt>
                <c:pt idx="650">
                  <c:v>673.7</c:v>
                </c:pt>
                <c:pt idx="651">
                  <c:v>638.09999999999991</c:v>
                </c:pt>
                <c:pt idx="652">
                  <c:v>729.09999999999991</c:v>
                </c:pt>
                <c:pt idx="653">
                  <c:v>837.8</c:v>
                </c:pt>
                <c:pt idx="654">
                  <c:v>1098.5999999999999</c:v>
                </c:pt>
                <c:pt idx="655">
                  <c:v>1407.7</c:v>
                </c:pt>
                <c:pt idx="656">
                  <c:v>1288</c:v>
                </c:pt>
                <c:pt idx="657">
                  <c:v>859.1</c:v>
                </c:pt>
                <c:pt idx="658">
                  <c:v>732.3</c:v>
                </c:pt>
                <c:pt idx="659">
                  <c:v>826.39999999999986</c:v>
                </c:pt>
                <c:pt idx="660">
                  <c:v>834.3</c:v>
                </c:pt>
                <c:pt idx="661">
                  <c:v>1093.8999999999999</c:v>
                </c:pt>
                <c:pt idx="662">
                  <c:v>1211.0999999999999</c:v>
                </c:pt>
                <c:pt idx="663">
                  <c:v>1413.1</c:v>
                </c:pt>
                <c:pt idx="664">
                  <c:v>1025.5999999999999</c:v>
                </c:pt>
                <c:pt idx="665">
                  <c:v>675.4</c:v>
                </c:pt>
                <c:pt idx="666">
                  <c:v>747.90000000000009</c:v>
                </c:pt>
                <c:pt idx="667">
                  <c:v>787.09999999999991</c:v>
                </c:pt>
                <c:pt idx="668">
                  <c:v>791.3</c:v>
                </c:pt>
                <c:pt idx="669">
                  <c:v>2672.6000000000004</c:v>
                </c:pt>
                <c:pt idx="670">
                  <c:v>3092.5999999999995</c:v>
                </c:pt>
                <c:pt idx="671">
                  <c:v>3067.3</c:v>
                </c:pt>
                <c:pt idx="672">
                  <c:v>3201.6000000000004</c:v>
                </c:pt>
                <c:pt idx="673">
                  <c:v>3773.2</c:v>
                </c:pt>
                <c:pt idx="674">
                  <c:v>3988</c:v>
                </c:pt>
                <c:pt idx="675">
                  <c:v>6497.0999999999995</c:v>
                </c:pt>
                <c:pt idx="676">
                  <c:v>10897.300000000001</c:v>
                </c:pt>
                <c:pt idx="677">
                  <c:v>9758.3000000000011</c:v>
                </c:pt>
                <c:pt idx="678">
                  <c:v>5249.5999999999995</c:v>
                </c:pt>
                <c:pt idx="679">
                  <c:v>4626.8</c:v>
                </c:pt>
                <c:pt idx="680">
                  <c:v>4750</c:v>
                </c:pt>
                <c:pt idx="681">
                  <c:v>5380.5</c:v>
                </c:pt>
                <c:pt idx="682">
                  <c:v>7299.4</c:v>
                </c:pt>
                <c:pt idx="683">
                  <c:v>11333.9</c:v>
                </c:pt>
                <c:pt idx="684">
                  <c:v>8540.9</c:v>
                </c:pt>
                <c:pt idx="685">
                  <c:v>5449.7</c:v>
                </c:pt>
                <c:pt idx="686">
                  <c:v>4907.2999999999993</c:v>
                </c:pt>
                <c:pt idx="687">
                  <c:v>5236.3</c:v>
                </c:pt>
                <c:pt idx="688">
                  <c:v>4911.6000000000004</c:v>
                </c:pt>
                <c:pt idx="689">
                  <c:v>7734.2</c:v>
                </c:pt>
                <c:pt idx="690">
                  <c:v>11891.900000000001</c:v>
                </c:pt>
                <c:pt idx="691">
                  <c:v>12439.3</c:v>
                </c:pt>
                <c:pt idx="692">
                  <c:v>9533.9</c:v>
                </c:pt>
                <c:pt idx="693">
                  <c:v>4860.3</c:v>
                </c:pt>
                <c:pt idx="694">
                  <c:v>4682.5</c:v>
                </c:pt>
                <c:pt idx="695">
                  <c:v>4009.8999999999996</c:v>
                </c:pt>
                <c:pt idx="696">
                  <c:v>6097.4</c:v>
                </c:pt>
                <c:pt idx="697">
                  <c:v>9487</c:v>
                </c:pt>
                <c:pt idx="698">
                  <c:v>9218.1</c:v>
                </c:pt>
                <c:pt idx="699">
                  <c:v>4699.7000000000007</c:v>
                </c:pt>
                <c:pt idx="700">
                  <c:v>4671.2999999999993</c:v>
                </c:pt>
                <c:pt idx="701">
                  <c:v>4753.3999999999996</c:v>
                </c:pt>
                <c:pt idx="702">
                  <c:v>6709.5</c:v>
                </c:pt>
                <c:pt idx="703">
                  <c:v>7898.3000000000011</c:v>
                </c:pt>
                <c:pt idx="704">
                  <c:v>13751.900000000001</c:v>
                </c:pt>
                <c:pt idx="705">
                  <c:v>11232</c:v>
                </c:pt>
                <c:pt idx="706">
                  <c:v>7127</c:v>
                </c:pt>
                <c:pt idx="707">
                  <c:v>5899.5</c:v>
                </c:pt>
                <c:pt idx="708">
                  <c:v>6691.7</c:v>
                </c:pt>
                <c:pt idx="709">
                  <c:v>7244.4000000000015</c:v>
                </c:pt>
                <c:pt idx="710">
                  <c:v>11804.800000000001</c:v>
                </c:pt>
                <c:pt idx="711">
                  <c:v>18276.2</c:v>
                </c:pt>
                <c:pt idx="712">
                  <c:v>16690.400000000001</c:v>
                </c:pt>
                <c:pt idx="713">
                  <c:v>7231</c:v>
                </c:pt>
                <c:pt idx="714">
                  <c:v>7403.8000000000011</c:v>
                </c:pt>
                <c:pt idx="715">
                  <c:v>7732.5</c:v>
                </c:pt>
                <c:pt idx="716">
                  <c:v>8264.1</c:v>
                </c:pt>
                <c:pt idx="717">
                  <c:v>13337.3</c:v>
                </c:pt>
                <c:pt idx="718">
                  <c:v>20853.099999999999</c:v>
                </c:pt>
                <c:pt idx="719">
                  <c:v>21232.7</c:v>
                </c:pt>
                <c:pt idx="720">
                  <c:v>15689.400000000001</c:v>
                </c:pt>
                <c:pt idx="721">
                  <c:v>9471.6</c:v>
                </c:pt>
                <c:pt idx="722">
                  <c:v>9656.1</c:v>
                </c:pt>
                <c:pt idx="723">
                  <c:v>10074.5</c:v>
                </c:pt>
                <c:pt idx="724">
                  <c:v>13004.400000000001</c:v>
                </c:pt>
                <c:pt idx="725">
                  <c:v>13795.6</c:v>
                </c:pt>
                <c:pt idx="726">
                  <c:v>11194.100000000002</c:v>
                </c:pt>
                <c:pt idx="727">
                  <c:v>6161.7000000000007</c:v>
                </c:pt>
                <c:pt idx="728">
                  <c:v>5666.5</c:v>
                </c:pt>
                <c:pt idx="729">
                  <c:v>5851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1B7-4676-A5DC-3FABB62FB4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7471376"/>
        <c:axId val="1807468880"/>
      </c:lineChart>
      <c:dateAx>
        <c:axId val="1774193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200128"/>
        <c:crosses val="autoZero"/>
        <c:auto val="1"/>
        <c:lblOffset val="100"/>
        <c:baseTimeUnit val="days"/>
      </c:dateAx>
      <c:valAx>
        <c:axId val="1774200128"/>
        <c:scaling>
          <c:orientation val="minMax"/>
        </c:scaling>
        <c:delete val="0"/>
        <c:axPos val="l"/>
        <c:numFmt formatCode="0.0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93472"/>
        <c:crosses val="autoZero"/>
        <c:crossBetween val="between"/>
      </c:valAx>
      <c:valAx>
        <c:axId val="18074688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7471376"/>
        <c:crosses val="max"/>
        <c:crossBetween val="between"/>
      </c:valAx>
      <c:dateAx>
        <c:axId val="180747137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0746888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Activations vs Sign up co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601412072574436"/>
          <c:y val="0.15416635850009164"/>
          <c:w val="0.7747501919250952"/>
          <c:h val="0.3424384497559856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ivated_user_cou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Sheet1!$B$2:$B$731</c:f>
              <c:numCache>
                <c:formatCode>0.00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81-4C84-82D0-A4C45F4139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4193472"/>
        <c:axId val="1774200128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ignups_Cos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Sheet1!$C$2:$C$731</c:f>
              <c:numCache>
                <c:formatCode>General</c:formatCode>
                <c:ptCount val="7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5172</c:v>
                </c:pt>
                <c:pt idx="21">
                  <c:v>6124</c:v>
                </c:pt>
                <c:pt idx="22">
                  <c:v>7697</c:v>
                </c:pt>
                <c:pt idx="23">
                  <c:v>10853</c:v>
                </c:pt>
                <c:pt idx="24">
                  <c:v>15195</c:v>
                </c:pt>
                <c:pt idx="25">
                  <c:v>22546</c:v>
                </c:pt>
                <c:pt idx="26">
                  <c:v>23912</c:v>
                </c:pt>
                <c:pt idx="27">
                  <c:v>15313</c:v>
                </c:pt>
                <c:pt idx="28">
                  <c:v>15572</c:v>
                </c:pt>
                <c:pt idx="29">
                  <c:v>16831</c:v>
                </c:pt>
                <c:pt idx="30">
                  <c:v>17999</c:v>
                </c:pt>
                <c:pt idx="31">
                  <c:v>22378</c:v>
                </c:pt>
                <c:pt idx="32">
                  <c:v>30051</c:v>
                </c:pt>
                <c:pt idx="33">
                  <c:v>27380</c:v>
                </c:pt>
                <c:pt idx="34">
                  <c:v>9678</c:v>
                </c:pt>
                <c:pt idx="35">
                  <c:v>14115</c:v>
                </c:pt>
                <c:pt idx="36">
                  <c:v>16337</c:v>
                </c:pt>
                <c:pt idx="37">
                  <c:v>18729</c:v>
                </c:pt>
                <c:pt idx="38">
                  <c:v>26878</c:v>
                </c:pt>
                <c:pt idx="39">
                  <c:v>39518</c:v>
                </c:pt>
                <c:pt idx="40">
                  <c:v>40714</c:v>
                </c:pt>
                <c:pt idx="41">
                  <c:v>21642</c:v>
                </c:pt>
                <c:pt idx="42">
                  <c:v>24808</c:v>
                </c:pt>
                <c:pt idx="43">
                  <c:v>28210</c:v>
                </c:pt>
                <c:pt idx="44">
                  <c:v>38930</c:v>
                </c:pt>
                <c:pt idx="45">
                  <c:v>38437</c:v>
                </c:pt>
                <c:pt idx="46">
                  <c:v>56339</c:v>
                </c:pt>
                <c:pt idx="47">
                  <c:v>50583</c:v>
                </c:pt>
                <c:pt idx="48">
                  <c:v>30980</c:v>
                </c:pt>
                <c:pt idx="49">
                  <c:v>32030</c:v>
                </c:pt>
                <c:pt idx="50">
                  <c:v>33666</c:v>
                </c:pt>
                <c:pt idx="51">
                  <c:v>36077</c:v>
                </c:pt>
                <c:pt idx="52">
                  <c:v>43652</c:v>
                </c:pt>
                <c:pt idx="53">
                  <c:v>60922</c:v>
                </c:pt>
                <c:pt idx="54">
                  <c:v>57585</c:v>
                </c:pt>
                <c:pt idx="55">
                  <c:v>34230</c:v>
                </c:pt>
                <c:pt idx="56">
                  <c:v>39499</c:v>
                </c:pt>
                <c:pt idx="57">
                  <c:v>44610</c:v>
                </c:pt>
                <c:pt idx="58">
                  <c:v>52298</c:v>
                </c:pt>
                <c:pt idx="59">
                  <c:v>72288</c:v>
                </c:pt>
                <c:pt idx="60">
                  <c:v>96715</c:v>
                </c:pt>
                <c:pt idx="61">
                  <c:v>100964</c:v>
                </c:pt>
                <c:pt idx="62">
                  <c:v>59266</c:v>
                </c:pt>
                <c:pt idx="63">
                  <c:v>49468</c:v>
                </c:pt>
                <c:pt idx="64">
                  <c:v>48900</c:v>
                </c:pt>
                <c:pt idx="65">
                  <c:v>52730</c:v>
                </c:pt>
                <c:pt idx="66">
                  <c:v>67044</c:v>
                </c:pt>
                <c:pt idx="67">
                  <c:v>81118</c:v>
                </c:pt>
                <c:pt idx="68">
                  <c:v>74226</c:v>
                </c:pt>
                <c:pt idx="69">
                  <c:v>44153</c:v>
                </c:pt>
                <c:pt idx="70">
                  <c:v>44524</c:v>
                </c:pt>
                <c:pt idx="71">
                  <c:v>46797</c:v>
                </c:pt>
                <c:pt idx="72">
                  <c:v>49566</c:v>
                </c:pt>
                <c:pt idx="73">
                  <c:v>58928</c:v>
                </c:pt>
                <c:pt idx="74">
                  <c:v>75793</c:v>
                </c:pt>
                <c:pt idx="75">
                  <c:v>75392</c:v>
                </c:pt>
                <c:pt idx="76">
                  <c:v>47285</c:v>
                </c:pt>
                <c:pt idx="77">
                  <c:v>34582</c:v>
                </c:pt>
                <c:pt idx="78">
                  <c:v>36707</c:v>
                </c:pt>
                <c:pt idx="79">
                  <c:v>43092</c:v>
                </c:pt>
                <c:pt idx="80">
                  <c:v>60090</c:v>
                </c:pt>
                <c:pt idx="81">
                  <c:v>84823</c:v>
                </c:pt>
                <c:pt idx="82">
                  <c:v>78011</c:v>
                </c:pt>
                <c:pt idx="83">
                  <c:v>46861</c:v>
                </c:pt>
                <c:pt idx="84">
                  <c:v>48579</c:v>
                </c:pt>
                <c:pt idx="85">
                  <c:v>50555</c:v>
                </c:pt>
                <c:pt idx="86">
                  <c:v>52033</c:v>
                </c:pt>
                <c:pt idx="87">
                  <c:v>63120</c:v>
                </c:pt>
                <c:pt idx="88">
                  <c:v>84554</c:v>
                </c:pt>
                <c:pt idx="89">
                  <c:v>72997</c:v>
                </c:pt>
                <c:pt idx="90">
                  <c:v>42240</c:v>
                </c:pt>
                <c:pt idx="91">
                  <c:v>43979</c:v>
                </c:pt>
                <c:pt idx="92">
                  <c:v>45558</c:v>
                </c:pt>
                <c:pt idx="93">
                  <c:v>47652</c:v>
                </c:pt>
                <c:pt idx="94">
                  <c:v>60017</c:v>
                </c:pt>
                <c:pt idx="95">
                  <c:v>81347</c:v>
                </c:pt>
                <c:pt idx="96">
                  <c:v>69990</c:v>
                </c:pt>
                <c:pt idx="97">
                  <c:v>39202</c:v>
                </c:pt>
                <c:pt idx="98">
                  <c:v>39086</c:v>
                </c:pt>
                <c:pt idx="99">
                  <c:v>38965</c:v>
                </c:pt>
                <c:pt idx="100">
                  <c:v>39341</c:v>
                </c:pt>
                <c:pt idx="101">
                  <c:v>46528</c:v>
                </c:pt>
                <c:pt idx="102">
                  <c:v>63786</c:v>
                </c:pt>
                <c:pt idx="103">
                  <c:v>52831</c:v>
                </c:pt>
                <c:pt idx="104">
                  <c:v>31464</c:v>
                </c:pt>
                <c:pt idx="105">
                  <c:v>39008</c:v>
                </c:pt>
                <c:pt idx="106">
                  <c:v>36017</c:v>
                </c:pt>
                <c:pt idx="107">
                  <c:v>39072</c:v>
                </c:pt>
                <c:pt idx="108">
                  <c:v>48881</c:v>
                </c:pt>
                <c:pt idx="109">
                  <c:v>69842</c:v>
                </c:pt>
                <c:pt idx="110">
                  <c:v>63283</c:v>
                </c:pt>
                <c:pt idx="111">
                  <c:v>35259</c:v>
                </c:pt>
                <c:pt idx="112">
                  <c:v>40957</c:v>
                </c:pt>
                <c:pt idx="113">
                  <c:v>36830</c:v>
                </c:pt>
                <c:pt idx="114">
                  <c:v>39957</c:v>
                </c:pt>
                <c:pt idx="115">
                  <c:v>46774</c:v>
                </c:pt>
                <c:pt idx="116">
                  <c:v>64909</c:v>
                </c:pt>
                <c:pt idx="117">
                  <c:v>56299</c:v>
                </c:pt>
                <c:pt idx="118">
                  <c:v>26001</c:v>
                </c:pt>
                <c:pt idx="119">
                  <c:v>26006</c:v>
                </c:pt>
                <c:pt idx="120">
                  <c:v>23990</c:v>
                </c:pt>
                <c:pt idx="121">
                  <c:v>23631</c:v>
                </c:pt>
                <c:pt idx="122">
                  <c:v>33516</c:v>
                </c:pt>
                <c:pt idx="123">
                  <c:v>47344</c:v>
                </c:pt>
                <c:pt idx="124">
                  <c:v>39500</c:v>
                </c:pt>
                <c:pt idx="125">
                  <c:v>19709</c:v>
                </c:pt>
                <c:pt idx="126">
                  <c:v>21159</c:v>
                </c:pt>
                <c:pt idx="127">
                  <c:v>22183</c:v>
                </c:pt>
                <c:pt idx="128">
                  <c:v>21466</c:v>
                </c:pt>
                <c:pt idx="129">
                  <c:v>27686</c:v>
                </c:pt>
                <c:pt idx="130">
                  <c:v>37469</c:v>
                </c:pt>
                <c:pt idx="131">
                  <c:v>34325</c:v>
                </c:pt>
                <c:pt idx="132">
                  <c:v>19041</c:v>
                </c:pt>
                <c:pt idx="133">
                  <c:v>19442</c:v>
                </c:pt>
                <c:pt idx="134">
                  <c:v>19275</c:v>
                </c:pt>
                <c:pt idx="135">
                  <c:v>21108</c:v>
                </c:pt>
                <c:pt idx="136">
                  <c:v>26591</c:v>
                </c:pt>
                <c:pt idx="137">
                  <c:v>40011</c:v>
                </c:pt>
                <c:pt idx="138">
                  <c:v>34623</c:v>
                </c:pt>
                <c:pt idx="139">
                  <c:v>17908</c:v>
                </c:pt>
                <c:pt idx="140">
                  <c:v>18678</c:v>
                </c:pt>
                <c:pt idx="141">
                  <c:v>19849</c:v>
                </c:pt>
                <c:pt idx="142">
                  <c:v>22335</c:v>
                </c:pt>
                <c:pt idx="143">
                  <c:v>32643</c:v>
                </c:pt>
                <c:pt idx="144">
                  <c:v>46412</c:v>
                </c:pt>
                <c:pt idx="145">
                  <c:v>36467</c:v>
                </c:pt>
                <c:pt idx="146">
                  <c:v>18413</c:v>
                </c:pt>
                <c:pt idx="147">
                  <c:v>19158</c:v>
                </c:pt>
                <c:pt idx="148">
                  <c:v>18842</c:v>
                </c:pt>
                <c:pt idx="149">
                  <c:v>19215</c:v>
                </c:pt>
                <c:pt idx="150">
                  <c:v>25668</c:v>
                </c:pt>
                <c:pt idx="151">
                  <c:v>37207</c:v>
                </c:pt>
                <c:pt idx="152">
                  <c:v>30714</c:v>
                </c:pt>
                <c:pt idx="153">
                  <c:v>16990</c:v>
                </c:pt>
                <c:pt idx="154">
                  <c:v>16275</c:v>
                </c:pt>
                <c:pt idx="155">
                  <c:v>17496</c:v>
                </c:pt>
                <c:pt idx="156">
                  <c:v>17033</c:v>
                </c:pt>
                <c:pt idx="157">
                  <c:v>21349</c:v>
                </c:pt>
                <c:pt idx="158">
                  <c:v>28831</c:v>
                </c:pt>
                <c:pt idx="159">
                  <c:v>26196</c:v>
                </c:pt>
                <c:pt idx="160">
                  <c:v>14203</c:v>
                </c:pt>
                <c:pt idx="161">
                  <c:v>13946</c:v>
                </c:pt>
                <c:pt idx="162">
                  <c:v>14904</c:v>
                </c:pt>
                <c:pt idx="163">
                  <c:v>15215</c:v>
                </c:pt>
                <c:pt idx="164">
                  <c:v>20666</c:v>
                </c:pt>
                <c:pt idx="165">
                  <c:v>29531</c:v>
                </c:pt>
                <c:pt idx="166">
                  <c:v>26570</c:v>
                </c:pt>
                <c:pt idx="167">
                  <c:v>16602</c:v>
                </c:pt>
                <c:pt idx="168">
                  <c:v>20759</c:v>
                </c:pt>
                <c:pt idx="169">
                  <c:v>21596</c:v>
                </c:pt>
                <c:pt idx="170">
                  <c:v>24151</c:v>
                </c:pt>
                <c:pt idx="171">
                  <c:v>32034</c:v>
                </c:pt>
                <c:pt idx="172">
                  <c:v>46641</c:v>
                </c:pt>
                <c:pt idx="173">
                  <c:v>41003</c:v>
                </c:pt>
                <c:pt idx="174">
                  <c:v>23761</c:v>
                </c:pt>
                <c:pt idx="175">
                  <c:v>22855</c:v>
                </c:pt>
                <c:pt idx="176">
                  <c:v>24685</c:v>
                </c:pt>
                <c:pt idx="177">
                  <c:v>26119</c:v>
                </c:pt>
                <c:pt idx="178">
                  <c:v>34341</c:v>
                </c:pt>
                <c:pt idx="179">
                  <c:v>43689</c:v>
                </c:pt>
                <c:pt idx="180">
                  <c:v>37604</c:v>
                </c:pt>
                <c:pt idx="181">
                  <c:v>19910</c:v>
                </c:pt>
                <c:pt idx="182">
                  <c:v>25747</c:v>
                </c:pt>
                <c:pt idx="183">
                  <c:v>29603</c:v>
                </c:pt>
                <c:pt idx="184">
                  <c:v>35778</c:v>
                </c:pt>
                <c:pt idx="185">
                  <c:v>45528</c:v>
                </c:pt>
                <c:pt idx="186">
                  <c:v>64040</c:v>
                </c:pt>
                <c:pt idx="187">
                  <c:v>55939</c:v>
                </c:pt>
                <c:pt idx="188">
                  <c:v>30002</c:v>
                </c:pt>
                <c:pt idx="189">
                  <c:v>27133</c:v>
                </c:pt>
                <c:pt idx="190">
                  <c:v>30986</c:v>
                </c:pt>
                <c:pt idx="191">
                  <c:v>34662</c:v>
                </c:pt>
                <c:pt idx="192">
                  <c:v>46911</c:v>
                </c:pt>
                <c:pt idx="193">
                  <c:v>52027</c:v>
                </c:pt>
                <c:pt idx="194">
                  <c:v>26317</c:v>
                </c:pt>
                <c:pt idx="195">
                  <c:v>14946</c:v>
                </c:pt>
                <c:pt idx="196">
                  <c:v>14736</c:v>
                </c:pt>
                <c:pt idx="197">
                  <c:v>12380</c:v>
                </c:pt>
                <c:pt idx="198">
                  <c:v>9412</c:v>
                </c:pt>
                <c:pt idx="199">
                  <c:v>7144</c:v>
                </c:pt>
                <c:pt idx="200">
                  <c:v>4906</c:v>
                </c:pt>
                <c:pt idx="201">
                  <c:v>4378</c:v>
                </c:pt>
                <c:pt idx="202">
                  <c:v>3277</c:v>
                </c:pt>
                <c:pt idx="203">
                  <c:v>7104</c:v>
                </c:pt>
                <c:pt idx="204">
                  <c:v>7119</c:v>
                </c:pt>
                <c:pt idx="205">
                  <c:v>3922</c:v>
                </c:pt>
                <c:pt idx="206">
                  <c:v>4850</c:v>
                </c:pt>
                <c:pt idx="207">
                  <c:v>6023</c:v>
                </c:pt>
                <c:pt idx="208">
                  <c:v>4857</c:v>
                </c:pt>
                <c:pt idx="209">
                  <c:v>3431</c:v>
                </c:pt>
                <c:pt idx="210">
                  <c:v>3302</c:v>
                </c:pt>
                <c:pt idx="211">
                  <c:v>3136</c:v>
                </c:pt>
                <c:pt idx="212">
                  <c:v>2837</c:v>
                </c:pt>
                <c:pt idx="213">
                  <c:v>3269</c:v>
                </c:pt>
                <c:pt idx="214">
                  <c:v>3961</c:v>
                </c:pt>
                <c:pt idx="215">
                  <c:v>2790</c:v>
                </c:pt>
                <c:pt idx="216">
                  <c:v>1890</c:v>
                </c:pt>
                <c:pt idx="217">
                  <c:v>3039</c:v>
                </c:pt>
                <c:pt idx="218">
                  <c:v>3363</c:v>
                </c:pt>
                <c:pt idx="219">
                  <c:v>4655</c:v>
                </c:pt>
                <c:pt idx="220">
                  <c:v>6556</c:v>
                </c:pt>
                <c:pt idx="221">
                  <c:v>9670</c:v>
                </c:pt>
                <c:pt idx="222">
                  <c:v>9490</c:v>
                </c:pt>
                <c:pt idx="223">
                  <c:v>5755</c:v>
                </c:pt>
                <c:pt idx="224">
                  <c:v>8000</c:v>
                </c:pt>
                <c:pt idx="225">
                  <c:v>9175</c:v>
                </c:pt>
                <c:pt idx="226">
                  <c:v>10567</c:v>
                </c:pt>
                <c:pt idx="227">
                  <c:v>15407</c:v>
                </c:pt>
                <c:pt idx="228">
                  <c:v>23029</c:v>
                </c:pt>
                <c:pt idx="229">
                  <c:v>21824</c:v>
                </c:pt>
                <c:pt idx="230">
                  <c:v>12111</c:v>
                </c:pt>
                <c:pt idx="231">
                  <c:v>12451</c:v>
                </c:pt>
                <c:pt idx="232">
                  <c:v>12637</c:v>
                </c:pt>
                <c:pt idx="233">
                  <c:v>12955</c:v>
                </c:pt>
                <c:pt idx="234">
                  <c:v>17629</c:v>
                </c:pt>
                <c:pt idx="235">
                  <c:v>24502</c:v>
                </c:pt>
                <c:pt idx="236">
                  <c:v>21912</c:v>
                </c:pt>
                <c:pt idx="237">
                  <c:v>11050</c:v>
                </c:pt>
                <c:pt idx="238">
                  <c:v>9999</c:v>
                </c:pt>
                <c:pt idx="239">
                  <c:v>11523</c:v>
                </c:pt>
                <c:pt idx="240">
                  <c:v>12176</c:v>
                </c:pt>
                <c:pt idx="241">
                  <c:v>16145</c:v>
                </c:pt>
                <c:pt idx="242">
                  <c:v>24083</c:v>
                </c:pt>
                <c:pt idx="243">
                  <c:v>23770</c:v>
                </c:pt>
                <c:pt idx="244">
                  <c:v>12754</c:v>
                </c:pt>
                <c:pt idx="245">
                  <c:v>13020</c:v>
                </c:pt>
                <c:pt idx="246">
                  <c:v>13919</c:v>
                </c:pt>
                <c:pt idx="247">
                  <c:v>15988</c:v>
                </c:pt>
                <c:pt idx="248">
                  <c:v>24132</c:v>
                </c:pt>
                <c:pt idx="249">
                  <c:v>35175</c:v>
                </c:pt>
                <c:pt idx="250">
                  <c:v>33342</c:v>
                </c:pt>
                <c:pt idx="251">
                  <c:v>17239</c:v>
                </c:pt>
                <c:pt idx="252">
                  <c:v>17966</c:v>
                </c:pt>
                <c:pt idx="253">
                  <c:v>17376</c:v>
                </c:pt>
                <c:pt idx="254">
                  <c:v>19311</c:v>
                </c:pt>
                <c:pt idx="255">
                  <c:v>24214</c:v>
                </c:pt>
                <c:pt idx="256">
                  <c:v>35870</c:v>
                </c:pt>
                <c:pt idx="257">
                  <c:v>30929</c:v>
                </c:pt>
                <c:pt idx="258">
                  <c:v>16644</c:v>
                </c:pt>
                <c:pt idx="259">
                  <c:v>16356</c:v>
                </c:pt>
                <c:pt idx="260">
                  <c:v>17477</c:v>
                </c:pt>
                <c:pt idx="261">
                  <c:v>18964</c:v>
                </c:pt>
                <c:pt idx="262">
                  <c:v>26662</c:v>
                </c:pt>
                <c:pt idx="263">
                  <c:v>38059</c:v>
                </c:pt>
                <c:pt idx="264">
                  <c:v>31140</c:v>
                </c:pt>
                <c:pt idx="265">
                  <c:v>16830</c:v>
                </c:pt>
                <c:pt idx="266">
                  <c:v>17027</c:v>
                </c:pt>
                <c:pt idx="267">
                  <c:v>19202</c:v>
                </c:pt>
                <c:pt idx="268">
                  <c:v>21721</c:v>
                </c:pt>
                <c:pt idx="269">
                  <c:v>25018</c:v>
                </c:pt>
                <c:pt idx="270">
                  <c:v>35414</c:v>
                </c:pt>
                <c:pt idx="271">
                  <c:v>29688</c:v>
                </c:pt>
                <c:pt idx="272">
                  <c:v>16902</c:v>
                </c:pt>
                <c:pt idx="273">
                  <c:v>16423</c:v>
                </c:pt>
                <c:pt idx="274">
                  <c:v>16898</c:v>
                </c:pt>
                <c:pt idx="275">
                  <c:v>16972</c:v>
                </c:pt>
                <c:pt idx="276">
                  <c:v>20833</c:v>
                </c:pt>
                <c:pt idx="277">
                  <c:v>27292</c:v>
                </c:pt>
                <c:pt idx="278">
                  <c:v>21594</c:v>
                </c:pt>
                <c:pt idx="279">
                  <c:v>14266</c:v>
                </c:pt>
                <c:pt idx="280">
                  <c:v>13174</c:v>
                </c:pt>
                <c:pt idx="281">
                  <c:v>12299</c:v>
                </c:pt>
                <c:pt idx="282">
                  <c:v>12396</c:v>
                </c:pt>
                <c:pt idx="283">
                  <c:v>12223</c:v>
                </c:pt>
                <c:pt idx="284">
                  <c:v>6741</c:v>
                </c:pt>
                <c:pt idx="285">
                  <c:v>4467</c:v>
                </c:pt>
                <c:pt idx="286">
                  <c:v>3907</c:v>
                </c:pt>
                <c:pt idx="287">
                  <c:v>2856</c:v>
                </c:pt>
                <c:pt idx="288">
                  <c:v>2056</c:v>
                </c:pt>
                <c:pt idx="289">
                  <c:v>2032</c:v>
                </c:pt>
                <c:pt idx="290">
                  <c:v>2280</c:v>
                </c:pt>
                <c:pt idx="291">
                  <c:v>1605</c:v>
                </c:pt>
                <c:pt idx="292">
                  <c:v>1108</c:v>
                </c:pt>
                <c:pt idx="293">
                  <c:v>941</c:v>
                </c:pt>
                <c:pt idx="294">
                  <c:v>622</c:v>
                </c:pt>
                <c:pt idx="295">
                  <c:v>447</c:v>
                </c:pt>
                <c:pt idx="296">
                  <c:v>378</c:v>
                </c:pt>
                <c:pt idx="297">
                  <c:v>282</c:v>
                </c:pt>
                <c:pt idx="298">
                  <c:v>177</c:v>
                </c:pt>
                <c:pt idx="299">
                  <c:v>209</c:v>
                </c:pt>
                <c:pt idx="300">
                  <c:v>255</c:v>
                </c:pt>
                <c:pt idx="301">
                  <c:v>197</c:v>
                </c:pt>
                <c:pt idx="302">
                  <c:v>259</c:v>
                </c:pt>
                <c:pt idx="303">
                  <c:v>174</c:v>
                </c:pt>
                <c:pt idx="304">
                  <c:v>200</c:v>
                </c:pt>
                <c:pt idx="305">
                  <c:v>194</c:v>
                </c:pt>
                <c:pt idx="306">
                  <c:v>159</c:v>
                </c:pt>
                <c:pt idx="307">
                  <c:v>212</c:v>
                </c:pt>
                <c:pt idx="308">
                  <c:v>165</c:v>
                </c:pt>
                <c:pt idx="309">
                  <c:v>216</c:v>
                </c:pt>
                <c:pt idx="310">
                  <c:v>159</c:v>
                </c:pt>
                <c:pt idx="311">
                  <c:v>226</c:v>
                </c:pt>
                <c:pt idx="312">
                  <c:v>205</c:v>
                </c:pt>
                <c:pt idx="313">
                  <c:v>129</c:v>
                </c:pt>
                <c:pt idx="314">
                  <c:v>207</c:v>
                </c:pt>
                <c:pt idx="315">
                  <c:v>94</c:v>
                </c:pt>
                <c:pt idx="316">
                  <c:v>170</c:v>
                </c:pt>
                <c:pt idx="317">
                  <c:v>104</c:v>
                </c:pt>
                <c:pt idx="318">
                  <c:v>98</c:v>
                </c:pt>
                <c:pt idx="319">
                  <c:v>79</c:v>
                </c:pt>
                <c:pt idx="320">
                  <c:v>16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37</c:v>
                </c:pt>
                <c:pt idx="331">
                  <c:v>259</c:v>
                </c:pt>
                <c:pt idx="332">
                  <c:v>278</c:v>
                </c:pt>
                <c:pt idx="333">
                  <c:v>340</c:v>
                </c:pt>
                <c:pt idx="334">
                  <c:v>277</c:v>
                </c:pt>
                <c:pt idx="335">
                  <c:v>314</c:v>
                </c:pt>
                <c:pt idx="336">
                  <c:v>316</c:v>
                </c:pt>
                <c:pt idx="337">
                  <c:v>361</c:v>
                </c:pt>
                <c:pt idx="338">
                  <c:v>307</c:v>
                </c:pt>
                <c:pt idx="339">
                  <c:v>443</c:v>
                </c:pt>
                <c:pt idx="340">
                  <c:v>466</c:v>
                </c:pt>
                <c:pt idx="341">
                  <c:v>381</c:v>
                </c:pt>
                <c:pt idx="342">
                  <c:v>327</c:v>
                </c:pt>
                <c:pt idx="343">
                  <c:v>367</c:v>
                </c:pt>
                <c:pt idx="344">
                  <c:v>238</c:v>
                </c:pt>
                <c:pt idx="345">
                  <c:v>143</c:v>
                </c:pt>
                <c:pt idx="346">
                  <c:v>135</c:v>
                </c:pt>
                <c:pt idx="347">
                  <c:v>120</c:v>
                </c:pt>
                <c:pt idx="348">
                  <c:v>60</c:v>
                </c:pt>
                <c:pt idx="349">
                  <c:v>54</c:v>
                </c:pt>
                <c:pt idx="350">
                  <c:v>16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015</c:v>
                </c:pt>
                <c:pt idx="358">
                  <c:v>1415</c:v>
                </c:pt>
                <c:pt idx="359">
                  <c:v>1467</c:v>
                </c:pt>
                <c:pt idx="360">
                  <c:v>2189</c:v>
                </c:pt>
                <c:pt idx="361">
                  <c:v>3137</c:v>
                </c:pt>
                <c:pt idx="362">
                  <c:v>2663</c:v>
                </c:pt>
                <c:pt idx="363">
                  <c:v>2097</c:v>
                </c:pt>
                <c:pt idx="364">
                  <c:v>2408</c:v>
                </c:pt>
                <c:pt idx="365">
                  <c:v>2375</c:v>
                </c:pt>
                <c:pt idx="366">
                  <c:v>2177</c:v>
                </c:pt>
                <c:pt idx="367">
                  <c:v>2624</c:v>
                </c:pt>
                <c:pt idx="368">
                  <c:v>4231</c:v>
                </c:pt>
                <c:pt idx="369">
                  <c:v>3709</c:v>
                </c:pt>
                <c:pt idx="370">
                  <c:v>2667</c:v>
                </c:pt>
                <c:pt idx="371">
                  <c:v>3928</c:v>
                </c:pt>
                <c:pt idx="372">
                  <c:v>4322</c:v>
                </c:pt>
                <c:pt idx="373">
                  <c:v>4780</c:v>
                </c:pt>
                <c:pt idx="374">
                  <c:v>6608</c:v>
                </c:pt>
                <c:pt idx="375">
                  <c:v>9555</c:v>
                </c:pt>
                <c:pt idx="376">
                  <c:v>8549</c:v>
                </c:pt>
                <c:pt idx="377">
                  <c:v>6042</c:v>
                </c:pt>
                <c:pt idx="378">
                  <c:v>6367</c:v>
                </c:pt>
                <c:pt idx="379">
                  <c:v>7451</c:v>
                </c:pt>
                <c:pt idx="380">
                  <c:v>8237</c:v>
                </c:pt>
                <c:pt idx="381">
                  <c:v>9944</c:v>
                </c:pt>
                <c:pt idx="382">
                  <c:v>11363</c:v>
                </c:pt>
                <c:pt idx="383">
                  <c:v>10435</c:v>
                </c:pt>
                <c:pt idx="384">
                  <c:v>6837</c:v>
                </c:pt>
                <c:pt idx="385">
                  <c:v>6886</c:v>
                </c:pt>
                <c:pt idx="386">
                  <c:v>6688</c:v>
                </c:pt>
                <c:pt idx="387">
                  <c:v>6191</c:v>
                </c:pt>
                <c:pt idx="388">
                  <c:v>7404</c:v>
                </c:pt>
                <c:pt idx="389">
                  <c:v>10806</c:v>
                </c:pt>
                <c:pt idx="390">
                  <c:v>10200</c:v>
                </c:pt>
                <c:pt idx="391">
                  <c:v>5125</c:v>
                </c:pt>
                <c:pt idx="392">
                  <c:v>5894</c:v>
                </c:pt>
                <c:pt idx="393">
                  <c:v>5670</c:v>
                </c:pt>
                <c:pt idx="394">
                  <c:v>6602</c:v>
                </c:pt>
                <c:pt idx="395">
                  <c:v>8818</c:v>
                </c:pt>
                <c:pt idx="396">
                  <c:v>13087</c:v>
                </c:pt>
                <c:pt idx="397">
                  <c:v>11217</c:v>
                </c:pt>
                <c:pt idx="398">
                  <c:v>6514</c:v>
                </c:pt>
                <c:pt idx="399">
                  <c:v>5967</c:v>
                </c:pt>
                <c:pt idx="400">
                  <c:v>6554</c:v>
                </c:pt>
                <c:pt idx="401">
                  <c:v>7768</c:v>
                </c:pt>
                <c:pt idx="402">
                  <c:v>10740</c:v>
                </c:pt>
                <c:pt idx="403">
                  <c:v>22330</c:v>
                </c:pt>
                <c:pt idx="404">
                  <c:v>20226</c:v>
                </c:pt>
                <c:pt idx="405">
                  <c:v>12669</c:v>
                </c:pt>
                <c:pt idx="406">
                  <c:v>12586</c:v>
                </c:pt>
                <c:pt idx="407">
                  <c:v>13442</c:v>
                </c:pt>
                <c:pt idx="408">
                  <c:v>15556</c:v>
                </c:pt>
                <c:pt idx="409">
                  <c:v>21917</c:v>
                </c:pt>
                <c:pt idx="410">
                  <c:v>34940</c:v>
                </c:pt>
                <c:pt idx="411">
                  <c:v>28537</c:v>
                </c:pt>
                <c:pt idx="412">
                  <c:v>16313</c:v>
                </c:pt>
                <c:pt idx="413">
                  <c:v>16607</c:v>
                </c:pt>
                <c:pt idx="414">
                  <c:v>16611</c:v>
                </c:pt>
                <c:pt idx="415">
                  <c:v>20171</c:v>
                </c:pt>
                <c:pt idx="416">
                  <c:v>33331</c:v>
                </c:pt>
                <c:pt idx="417">
                  <c:v>45610</c:v>
                </c:pt>
                <c:pt idx="418">
                  <c:v>34744</c:v>
                </c:pt>
                <c:pt idx="419">
                  <c:v>19670</c:v>
                </c:pt>
                <c:pt idx="420">
                  <c:v>19098</c:v>
                </c:pt>
                <c:pt idx="421">
                  <c:v>21417</c:v>
                </c:pt>
                <c:pt idx="422">
                  <c:v>22857</c:v>
                </c:pt>
                <c:pt idx="423">
                  <c:v>31477</c:v>
                </c:pt>
                <c:pt idx="424">
                  <c:v>44797</c:v>
                </c:pt>
                <c:pt idx="425">
                  <c:v>37548</c:v>
                </c:pt>
                <c:pt idx="426">
                  <c:v>22539</c:v>
                </c:pt>
                <c:pt idx="427">
                  <c:v>23613</c:v>
                </c:pt>
                <c:pt idx="428">
                  <c:v>24271</c:v>
                </c:pt>
                <c:pt idx="429">
                  <c:v>23146</c:v>
                </c:pt>
                <c:pt idx="430">
                  <c:v>29573</c:v>
                </c:pt>
                <c:pt idx="431">
                  <c:v>42959</c:v>
                </c:pt>
                <c:pt idx="432">
                  <c:v>36134</c:v>
                </c:pt>
                <c:pt idx="433">
                  <c:v>21683</c:v>
                </c:pt>
                <c:pt idx="434">
                  <c:v>21058</c:v>
                </c:pt>
                <c:pt idx="435">
                  <c:v>25194</c:v>
                </c:pt>
                <c:pt idx="436">
                  <c:v>24233</c:v>
                </c:pt>
                <c:pt idx="437">
                  <c:v>31787</c:v>
                </c:pt>
                <c:pt idx="438">
                  <c:v>46173</c:v>
                </c:pt>
                <c:pt idx="439">
                  <c:v>37365</c:v>
                </c:pt>
                <c:pt idx="440">
                  <c:v>24689</c:v>
                </c:pt>
                <c:pt idx="441">
                  <c:v>27212</c:v>
                </c:pt>
                <c:pt idx="442">
                  <c:v>28816</c:v>
                </c:pt>
                <c:pt idx="443">
                  <c:v>31215</c:v>
                </c:pt>
                <c:pt idx="444">
                  <c:v>39319</c:v>
                </c:pt>
                <c:pt idx="445">
                  <c:v>58852</c:v>
                </c:pt>
                <c:pt idx="446">
                  <c:v>58045</c:v>
                </c:pt>
                <c:pt idx="447">
                  <c:v>42852</c:v>
                </c:pt>
                <c:pt idx="448">
                  <c:v>28737</c:v>
                </c:pt>
                <c:pt idx="449">
                  <c:v>28036</c:v>
                </c:pt>
                <c:pt idx="450">
                  <c:v>29271</c:v>
                </c:pt>
                <c:pt idx="451">
                  <c:v>35951</c:v>
                </c:pt>
                <c:pt idx="452">
                  <c:v>56204</c:v>
                </c:pt>
                <c:pt idx="453">
                  <c:v>45928</c:v>
                </c:pt>
                <c:pt idx="454">
                  <c:v>24306</c:v>
                </c:pt>
                <c:pt idx="455">
                  <c:v>24854</c:v>
                </c:pt>
                <c:pt idx="456">
                  <c:v>26799</c:v>
                </c:pt>
                <c:pt idx="457">
                  <c:v>28125</c:v>
                </c:pt>
                <c:pt idx="458">
                  <c:v>37453</c:v>
                </c:pt>
                <c:pt idx="459">
                  <c:v>57986</c:v>
                </c:pt>
                <c:pt idx="460">
                  <c:v>49480</c:v>
                </c:pt>
                <c:pt idx="461">
                  <c:v>15839</c:v>
                </c:pt>
                <c:pt idx="462">
                  <c:v>11491</c:v>
                </c:pt>
                <c:pt idx="463">
                  <c:v>9374</c:v>
                </c:pt>
                <c:pt idx="464">
                  <c:v>8143</c:v>
                </c:pt>
                <c:pt idx="465">
                  <c:v>8025</c:v>
                </c:pt>
                <c:pt idx="466">
                  <c:v>6606</c:v>
                </c:pt>
                <c:pt idx="467">
                  <c:v>1901</c:v>
                </c:pt>
                <c:pt idx="468">
                  <c:v>3310</c:v>
                </c:pt>
                <c:pt idx="469">
                  <c:v>14292</c:v>
                </c:pt>
                <c:pt idx="470">
                  <c:v>19290</c:v>
                </c:pt>
                <c:pt idx="471">
                  <c:v>23609</c:v>
                </c:pt>
                <c:pt idx="472">
                  <c:v>34321</c:v>
                </c:pt>
                <c:pt idx="473">
                  <c:v>53655</c:v>
                </c:pt>
                <c:pt idx="474">
                  <c:v>44838</c:v>
                </c:pt>
                <c:pt idx="475">
                  <c:v>30460</c:v>
                </c:pt>
                <c:pt idx="476">
                  <c:v>28634</c:v>
                </c:pt>
                <c:pt idx="477">
                  <c:v>33970</c:v>
                </c:pt>
                <c:pt idx="478">
                  <c:v>33287</c:v>
                </c:pt>
                <c:pt idx="479">
                  <c:v>52323</c:v>
                </c:pt>
                <c:pt idx="480">
                  <c:v>63216</c:v>
                </c:pt>
                <c:pt idx="481">
                  <c:v>56888</c:v>
                </c:pt>
                <c:pt idx="482">
                  <c:v>29714</c:v>
                </c:pt>
                <c:pt idx="483">
                  <c:v>29474</c:v>
                </c:pt>
                <c:pt idx="484">
                  <c:v>30357</c:v>
                </c:pt>
                <c:pt idx="485">
                  <c:v>30625</c:v>
                </c:pt>
                <c:pt idx="486">
                  <c:v>41744</c:v>
                </c:pt>
                <c:pt idx="487">
                  <c:v>58490</c:v>
                </c:pt>
                <c:pt idx="488">
                  <c:v>46595</c:v>
                </c:pt>
                <c:pt idx="489">
                  <c:v>28971</c:v>
                </c:pt>
                <c:pt idx="490">
                  <c:v>29967</c:v>
                </c:pt>
                <c:pt idx="491">
                  <c:v>29951</c:v>
                </c:pt>
                <c:pt idx="492">
                  <c:v>30981</c:v>
                </c:pt>
                <c:pt idx="493">
                  <c:v>43210</c:v>
                </c:pt>
                <c:pt idx="494">
                  <c:v>49438</c:v>
                </c:pt>
                <c:pt idx="495">
                  <c:v>35917</c:v>
                </c:pt>
                <c:pt idx="496">
                  <c:v>23856</c:v>
                </c:pt>
                <c:pt idx="497">
                  <c:v>22761</c:v>
                </c:pt>
                <c:pt idx="498">
                  <c:v>20816</c:v>
                </c:pt>
                <c:pt idx="499">
                  <c:v>12003</c:v>
                </c:pt>
                <c:pt idx="500">
                  <c:v>11545</c:v>
                </c:pt>
                <c:pt idx="501">
                  <c:v>9817</c:v>
                </c:pt>
                <c:pt idx="502">
                  <c:v>4578</c:v>
                </c:pt>
                <c:pt idx="503">
                  <c:v>2061</c:v>
                </c:pt>
                <c:pt idx="504">
                  <c:v>895</c:v>
                </c:pt>
                <c:pt idx="505">
                  <c:v>34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1126</c:v>
                </c:pt>
                <c:pt idx="540">
                  <c:v>1854</c:v>
                </c:pt>
                <c:pt idx="541">
                  <c:v>3073</c:v>
                </c:pt>
                <c:pt idx="542">
                  <c:v>4318</c:v>
                </c:pt>
                <c:pt idx="543">
                  <c:v>5949</c:v>
                </c:pt>
                <c:pt idx="544">
                  <c:v>5010</c:v>
                </c:pt>
                <c:pt idx="545">
                  <c:v>3407</c:v>
                </c:pt>
                <c:pt idx="546">
                  <c:v>4947</c:v>
                </c:pt>
                <c:pt idx="547">
                  <c:v>5817</c:v>
                </c:pt>
                <c:pt idx="548">
                  <c:v>6833</c:v>
                </c:pt>
                <c:pt idx="549">
                  <c:v>11027</c:v>
                </c:pt>
                <c:pt idx="550">
                  <c:v>13972</c:v>
                </c:pt>
                <c:pt idx="551">
                  <c:v>11715</c:v>
                </c:pt>
                <c:pt idx="552">
                  <c:v>8104</c:v>
                </c:pt>
                <c:pt idx="553">
                  <c:v>9386</c:v>
                </c:pt>
                <c:pt idx="554">
                  <c:v>7116</c:v>
                </c:pt>
                <c:pt idx="555">
                  <c:v>6204</c:v>
                </c:pt>
                <c:pt idx="556">
                  <c:v>7412</c:v>
                </c:pt>
                <c:pt idx="557">
                  <c:v>7450</c:v>
                </c:pt>
                <c:pt idx="558">
                  <c:v>5173</c:v>
                </c:pt>
                <c:pt idx="559">
                  <c:v>4662</c:v>
                </c:pt>
                <c:pt idx="560">
                  <c:v>4587</c:v>
                </c:pt>
                <c:pt idx="561">
                  <c:v>4954</c:v>
                </c:pt>
                <c:pt idx="562">
                  <c:v>6583</c:v>
                </c:pt>
                <c:pt idx="563">
                  <c:v>12581</c:v>
                </c:pt>
                <c:pt idx="564">
                  <c:v>7045</c:v>
                </c:pt>
                <c:pt idx="565">
                  <c:v>4856</c:v>
                </c:pt>
                <c:pt idx="566">
                  <c:v>4038</c:v>
                </c:pt>
                <c:pt idx="567">
                  <c:v>4325</c:v>
                </c:pt>
                <c:pt idx="568">
                  <c:v>4292</c:v>
                </c:pt>
                <c:pt idx="569">
                  <c:v>7390</c:v>
                </c:pt>
                <c:pt idx="570">
                  <c:v>8488</c:v>
                </c:pt>
                <c:pt idx="571">
                  <c:v>4145</c:v>
                </c:pt>
                <c:pt idx="572">
                  <c:v>3828</c:v>
                </c:pt>
                <c:pt idx="573">
                  <c:v>3555</c:v>
                </c:pt>
                <c:pt idx="574">
                  <c:v>3503</c:v>
                </c:pt>
                <c:pt idx="575">
                  <c:v>3128</c:v>
                </c:pt>
                <c:pt idx="576">
                  <c:v>3276</c:v>
                </c:pt>
                <c:pt idx="577">
                  <c:v>3758</c:v>
                </c:pt>
                <c:pt idx="578">
                  <c:v>4079</c:v>
                </c:pt>
                <c:pt idx="579">
                  <c:v>3580</c:v>
                </c:pt>
                <c:pt idx="580">
                  <c:v>3159</c:v>
                </c:pt>
                <c:pt idx="581">
                  <c:v>1478</c:v>
                </c:pt>
                <c:pt idx="582">
                  <c:v>2289</c:v>
                </c:pt>
                <c:pt idx="583">
                  <c:v>2806</c:v>
                </c:pt>
                <c:pt idx="584">
                  <c:v>3229</c:v>
                </c:pt>
                <c:pt idx="585">
                  <c:v>3520</c:v>
                </c:pt>
                <c:pt idx="586">
                  <c:v>3499</c:v>
                </c:pt>
                <c:pt idx="587">
                  <c:v>3196</c:v>
                </c:pt>
                <c:pt idx="588">
                  <c:v>1746</c:v>
                </c:pt>
                <c:pt idx="589">
                  <c:v>1231</c:v>
                </c:pt>
                <c:pt idx="590">
                  <c:v>694</c:v>
                </c:pt>
                <c:pt idx="591">
                  <c:v>694</c:v>
                </c:pt>
                <c:pt idx="592">
                  <c:v>391</c:v>
                </c:pt>
                <c:pt idx="593">
                  <c:v>245</c:v>
                </c:pt>
                <c:pt idx="594">
                  <c:v>8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339</c:v>
                </c:pt>
                <c:pt idx="602">
                  <c:v>1410</c:v>
                </c:pt>
                <c:pt idx="603">
                  <c:v>1904</c:v>
                </c:pt>
                <c:pt idx="604">
                  <c:v>2402</c:v>
                </c:pt>
                <c:pt idx="605">
                  <c:v>3010</c:v>
                </c:pt>
                <c:pt idx="606">
                  <c:v>3870</c:v>
                </c:pt>
                <c:pt idx="607">
                  <c:v>3939</c:v>
                </c:pt>
                <c:pt idx="608">
                  <c:v>6338</c:v>
                </c:pt>
                <c:pt idx="609">
                  <c:v>3862</c:v>
                </c:pt>
                <c:pt idx="610">
                  <c:v>3363</c:v>
                </c:pt>
                <c:pt idx="611">
                  <c:v>3026</c:v>
                </c:pt>
                <c:pt idx="612">
                  <c:v>3534</c:v>
                </c:pt>
                <c:pt idx="613">
                  <c:v>3796</c:v>
                </c:pt>
                <c:pt idx="614">
                  <c:v>3397</c:v>
                </c:pt>
                <c:pt idx="615">
                  <c:v>2731</c:v>
                </c:pt>
                <c:pt idx="616">
                  <c:v>2375</c:v>
                </c:pt>
                <c:pt idx="617">
                  <c:v>2539</c:v>
                </c:pt>
                <c:pt idx="618">
                  <c:v>2418</c:v>
                </c:pt>
                <c:pt idx="619">
                  <c:v>2955</c:v>
                </c:pt>
                <c:pt idx="620">
                  <c:v>3494</c:v>
                </c:pt>
                <c:pt idx="621">
                  <c:v>2697</c:v>
                </c:pt>
                <c:pt idx="622">
                  <c:v>2193</c:v>
                </c:pt>
                <c:pt idx="623">
                  <c:v>1154</c:v>
                </c:pt>
                <c:pt idx="624">
                  <c:v>898</c:v>
                </c:pt>
                <c:pt idx="625">
                  <c:v>661</c:v>
                </c:pt>
                <c:pt idx="626">
                  <c:v>763</c:v>
                </c:pt>
                <c:pt idx="627">
                  <c:v>470</c:v>
                </c:pt>
                <c:pt idx="628">
                  <c:v>201</c:v>
                </c:pt>
                <c:pt idx="629">
                  <c:v>40</c:v>
                </c:pt>
                <c:pt idx="630">
                  <c:v>449</c:v>
                </c:pt>
                <c:pt idx="631">
                  <c:v>3172</c:v>
                </c:pt>
                <c:pt idx="632">
                  <c:v>3335</c:v>
                </c:pt>
                <c:pt idx="633">
                  <c:v>4721</c:v>
                </c:pt>
                <c:pt idx="634">
                  <c:v>5561</c:v>
                </c:pt>
                <c:pt idx="635">
                  <c:v>4955</c:v>
                </c:pt>
                <c:pt idx="636">
                  <c:v>3856</c:v>
                </c:pt>
                <c:pt idx="637">
                  <c:v>4180</c:v>
                </c:pt>
                <c:pt idx="638">
                  <c:v>4143</c:v>
                </c:pt>
                <c:pt idx="639">
                  <c:v>4614</c:v>
                </c:pt>
                <c:pt idx="640">
                  <c:v>5800</c:v>
                </c:pt>
                <c:pt idx="641">
                  <c:v>6795</c:v>
                </c:pt>
                <c:pt idx="642">
                  <c:v>5956</c:v>
                </c:pt>
                <c:pt idx="643">
                  <c:v>4835</c:v>
                </c:pt>
                <c:pt idx="644">
                  <c:v>5407</c:v>
                </c:pt>
                <c:pt idx="645">
                  <c:v>6164</c:v>
                </c:pt>
                <c:pt idx="646">
                  <c:v>6091</c:v>
                </c:pt>
                <c:pt idx="647">
                  <c:v>8056</c:v>
                </c:pt>
                <c:pt idx="648">
                  <c:v>9074</c:v>
                </c:pt>
                <c:pt idx="649">
                  <c:v>7820</c:v>
                </c:pt>
                <c:pt idx="650">
                  <c:v>6789</c:v>
                </c:pt>
                <c:pt idx="651">
                  <c:v>7229</c:v>
                </c:pt>
                <c:pt idx="652">
                  <c:v>7025</c:v>
                </c:pt>
                <c:pt idx="653">
                  <c:v>7572</c:v>
                </c:pt>
                <c:pt idx="654">
                  <c:v>10386</c:v>
                </c:pt>
                <c:pt idx="655">
                  <c:v>12308</c:v>
                </c:pt>
                <c:pt idx="656">
                  <c:v>10258</c:v>
                </c:pt>
                <c:pt idx="657">
                  <c:v>9353</c:v>
                </c:pt>
                <c:pt idx="658">
                  <c:v>19173</c:v>
                </c:pt>
                <c:pt idx="659">
                  <c:v>24364</c:v>
                </c:pt>
                <c:pt idx="660">
                  <c:v>29827</c:v>
                </c:pt>
                <c:pt idx="661">
                  <c:v>34707</c:v>
                </c:pt>
                <c:pt idx="662">
                  <c:v>40813</c:v>
                </c:pt>
                <c:pt idx="663">
                  <c:v>45380</c:v>
                </c:pt>
                <c:pt idx="664">
                  <c:v>40537</c:v>
                </c:pt>
                <c:pt idx="665">
                  <c:v>34656</c:v>
                </c:pt>
                <c:pt idx="666">
                  <c:v>35247</c:v>
                </c:pt>
                <c:pt idx="667">
                  <c:v>34941</c:v>
                </c:pt>
                <c:pt idx="668">
                  <c:v>43575</c:v>
                </c:pt>
                <c:pt idx="669">
                  <c:v>53384</c:v>
                </c:pt>
                <c:pt idx="670">
                  <c:v>49148</c:v>
                </c:pt>
                <c:pt idx="671">
                  <c:v>50602</c:v>
                </c:pt>
                <c:pt idx="672">
                  <c:v>38377</c:v>
                </c:pt>
                <c:pt idx="673">
                  <c:v>33772</c:v>
                </c:pt>
                <c:pt idx="674">
                  <c:v>35189</c:v>
                </c:pt>
                <c:pt idx="675">
                  <c:v>39113</c:v>
                </c:pt>
                <c:pt idx="676">
                  <c:v>50060</c:v>
                </c:pt>
                <c:pt idx="677">
                  <c:v>33192</c:v>
                </c:pt>
                <c:pt idx="678">
                  <c:v>20944</c:v>
                </c:pt>
                <c:pt idx="679">
                  <c:v>27484</c:v>
                </c:pt>
                <c:pt idx="680">
                  <c:v>27578</c:v>
                </c:pt>
                <c:pt idx="681">
                  <c:v>29524</c:v>
                </c:pt>
                <c:pt idx="682">
                  <c:v>40778</c:v>
                </c:pt>
                <c:pt idx="683">
                  <c:v>51772</c:v>
                </c:pt>
                <c:pt idx="684">
                  <c:v>39828</c:v>
                </c:pt>
                <c:pt idx="685">
                  <c:v>28569</c:v>
                </c:pt>
                <c:pt idx="686">
                  <c:v>29476</c:v>
                </c:pt>
                <c:pt idx="687">
                  <c:v>29757</c:v>
                </c:pt>
                <c:pt idx="688">
                  <c:v>31370</c:v>
                </c:pt>
                <c:pt idx="689">
                  <c:v>43369</c:v>
                </c:pt>
                <c:pt idx="690">
                  <c:v>55084</c:v>
                </c:pt>
                <c:pt idx="691">
                  <c:v>53181</c:v>
                </c:pt>
                <c:pt idx="692">
                  <c:v>41985</c:v>
                </c:pt>
                <c:pt idx="693">
                  <c:v>31214</c:v>
                </c:pt>
                <c:pt idx="694">
                  <c:v>31537</c:v>
                </c:pt>
                <c:pt idx="695">
                  <c:v>30232</c:v>
                </c:pt>
                <c:pt idx="696">
                  <c:v>39325</c:v>
                </c:pt>
                <c:pt idx="697">
                  <c:v>50224</c:v>
                </c:pt>
                <c:pt idx="698">
                  <c:v>41341</c:v>
                </c:pt>
                <c:pt idx="699">
                  <c:v>29589</c:v>
                </c:pt>
                <c:pt idx="700">
                  <c:v>28758</c:v>
                </c:pt>
                <c:pt idx="701">
                  <c:v>28508</c:v>
                </c:pt>
                <c:pt idx="702">
                  <c:v>35305</c:v>
                </c:pt>
                <c:pt idx="703">
                  <c:v>41947</c:v>
                </c:pt>
                <c:pt idx="704">
                  <c:v>55790</c:v>
                </c:pt>
                <c:pt idx="705">
                  <c:v>44940</c:v>
                </c:pt>
                <c:pt idx="706">
                  <c:v>35823</c:v>
                </c:pt>
                <c:pt idx="707">
                  <c:v>33901</c:v>
                </c:pt>
                <c:pt idx="708">
                  <c:v>35661</c:v>
                </c:pt>
                <c:pt idx="709">
                  <c:v>39167</c:v>
                </c:pt>
                <c:pt idx="710">
                  <c:v>53405</c:v>
                </c:pt>
                <c:pt idx="711">
                  <c:v>71068</c:v>
                </c:pt>
                <c:pt idx="712">
                  <c:v>63549</c:v>
                </c:pt>
                <c:pt idx="713">
                  <c:v>37315</c:v>
                </c:pt>
                <c:pt idx="714">
                  <c:v>39050</c:v>
                </c:pt>
                <c:pt idx="715">
                  <c:v>40995</c:v>
                </c:pt>
                <c:pt idx="716">
                  <c:v>45664</c:v>
                </c:pt>
                <c:pt idx="717">
                  <c:v>65043</c:v>
                </c:pt>
                <c:pt idx="718">
                  <c:v>92705</c:v>
                </c:pt>
                <c:pt idx="719">
                  <c:v>91896</c:v>
                </c:pt>
                <c:pt idx="720">
                  <c:v>66450</c:v>
                </c:pt>
                <c:pt idx="721">
                  <c:v>46543</c:v>
                </c:pt>
                <c:pt idx="722">
                  <c:v>46288</c:v>
                </c:pt>
                <c:pt idx="723">
                  <c:v>49454</c:v>
                </c:pt>
                <c:pt idx="724">
                  <c:v>61928</c:v>
                </c:pt>
                <c:pt idx="725">
                  <c:v>83480</c:v>
                </c:pt>
                <c:pt idx="726">
                  <c:v>67337</c:v>
                </c:pt>
                <c:pt idx="727">
                  <c:v>40168</c:v>
                </c:pt>
                <c:pt idx="728">
                  <c:v>39813</c:v>
                </c:pt>
                <c:pt idx="729">
                  <c:v>44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81-4C84-82D0-A4C45F4139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7471376"/>
        <c:axId val="1807468880"/>
      </c:lineChart>
      <c:dateAx>
        <c:axId val="1774193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200128"/>
        <c:crosses val="autoZero"/>
        <c:auto val="1"/>
        <c:lblOffset val="100"/>
        <c:baseTimeUnit val="days"/>
      </c:dateAx>
      <c:valAx>
        <c:axId val="1774200128"/>
        <c:scaling>
          <c:orientation val="minMax"/>
        </c:scaling>
        <c:delete val="0"/>
        <c:axPos val="l"/>
        <c:numFmt formatCode="0.0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93472"/>
        <c:crosses val="autoZero"/>
        <c:crossBetween val="between"/>
      </c:valAx>
      <c:valAx>
        <c:axId val="18074688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7471376"/>
        <c:crosses val="max"/>
        <c:crossBetween val="between"/>
      </c:valAx>
      <c:dateAx>
        <c:axId val="180747137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0746888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Activations vs Event Cost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Event!$Z$1</c:f>
              <c:strCache>
                <c:ptCount val="1"/>
                <c:pt idx="0">
                  <c:v>Activated user cou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Event!$Y$2:$Y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Event!$Z$2:$Z$731</c:f>
              <c:numCache>
                <c:formatCode>#,##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13-463D-98AD-9607BEC85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4180576"/>
        <c:axId val="1774188480"/>
      </c:lineChart>
      <c:lineChart>
        <c:grouping val="standard"/>
        <c:varyColors val="0"/>
        <c:ser>
          <c:idx val="1"/>
          <c:order val="1"/>
          <c:tx>
            <c:strRef>
              <c:f>Event!$AA$1</c:f>
              <c:strCache>
                <c:ptCount val="1"/>
                <c:pt idx="0">
                  <c:v>Event Co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Event!$Y$2:$Y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Event!$AA$2:$AA$731</c:f>
              <c:numCache>
                <c:formatCode>#,##0</c:formatCode>
                <c:ptCount val="730"/>
                <c:pt idx="0">
                  <c:v>302</c:v>
                </c:pt>
                <c:pt idx="1">
                  <c:v>1980</c:v>
                </c:pt>
                <c:pt idx="2">
                  <c:v>6493</c:v>
                </c:pt>
                <c:pt idx="3">
                  <c:v>12554</c:v>
                </c:pt>
                <c:pt idx="4">
                  <c:v>21905</c:v>
                </c:pt>
                <c:pt idx="5">
                  <c:v>2784</c:v>
                </c:pt>
                <c:pt idx="6">
                  <c:v>2568</c:v>
                </c:pt>
                <c:pt idx="7">
                  <c:v>589</c:v>
                </c:pt>
                <c:pt idx="8">
                  <c:v>612</c:v>
                </c:pt>
                <c:pt idx="9">
                  <c:v>704</c:v>
                </c:pt>
                <c:pt idx="10">
                  <c:v>1118</c:v>
                </c:pt>
                <c:pt idx="11">
                  <c:v>1512</c:v>
                </c:pt>
                <c:pt idx="12">
                  <c:v>1131</c:v>
                </c:pt>
                <c:pt idx="13">
                  <c:v>467</c:v>
                </c:pt>
                <c:pt idx="14">
                  <c:v>462</c:v>
                </c:pt>
                <c:pt idx="15">
                  <c:v>665</c:v>
                </c:pt>
                <c:pt idx="16">
                  <c:v>806</c:v>
                </c:pt>
                <c:pt idx="17">
                  <c:v>837</c:v>
                </c:pt>
                <c:pt idx="18">
                  <c:v>1237</c:v>
                </c:pt>
                <c:pt idx="19">
                  <c:v>898</c:v>
                </c:pt>
                <c:pt idx="20">
                  <c:v>527</c:v>
                </c:pt>
                <c:pt idx="21">
                  <c:v>636</c:v>
                </c:pt>
                <c:pt idx="22">
                  <c:v>448</c:v>
                </c:pt>
                <c:pt idx="23">
                  <c:v>445</c:v>
                </c:pt>
                <c:pt idx="24">
                  <c:v>708</c:v>
                </c:pt>
                <c:pt idx="25">
                  <c:v>1299</c:v>
                </c:pt>
                <c:pt idx="26">
                  <c:v>1209</c:v>
                </c:pt>
                <c:pt idx="27">
                  <c:v>599</c:v>
                </c:pt>
                <c:pt idx="28">
                  <c:v>520</c:v>
                </c:pt>
                <c:pt idx="29">
                  <c:v>548</c:v>
                </c:pt>
                <c:pt idx="30">
                  <c:v>579</c:v>
                </c:pt>
                <c:pt idx="31">
                  <c:v>798</c:v>
                </c:pt>
                <c:pt idx="32">
                  <c:v>1213</c:v>
                </c:pt>
                <c:pt idx="33">
                  <c:v>967</c:v>
                </c:pt>
                <c:pt idx="34">
                  <c:v>645</c:v>
                </c:pt>
                <c:pt idx="35">
                  <c:v>603</c:v>
                </c:pt>
                <c:pt idx="36">
                  <c:v>725</c:v>
                </c:pt>
                <c:pt idx="37">
                  <c:v>676</c:v>
                </c:pt>
                <c:pt idx="38">
                  <c:v>1091</c:v>
                </c:pt>
                <c:pt idx="39">
                  <c:v>1585</c:v>
                </c:pt>
                <c:pt idx="40">
                  <c:v>1198</c:v>
                </c:pt>
                <c:pt idx="41">
                  <c:v>769</c:v>
                </c:pt>
                <c:pt idx="42">
                  <c:v>869</c:v>
                </c:pt>
                <c:pt idx="43">
                  <c:v>918</c:v>
                </c:pt>
                <c:pt idx="44">
                  <c:v>1091</c:v>
                </c:pt>
                <c:pt idx="45">
                  <c:v>1023</c:v>
                </c:pt>
                <c:pt idx="46">
                  <c:v>1734</c:v>
                </c:pt>
                <c:pt idx="47">
                  <c:v>1333</c:v>
                </c:pt>
                <c:pt idx="48">
                  <c:v>743</c:v>
                </c:pt>
                <c:pt idx="49">
                  <c:v>921</c:v>
                </c:pt>
                <c:pt idx="50">
                  <c:v>1054</c:v>
                </c:pt>
                <c:pt idx="51">
                  <c:v>592.87096774193549</c:v>
                </c:pt>
                <c:pt idx="52">
                  <c:v>1007.8709677419355</c:v>
                </c:pt>
                <c:pt idx="53">
                  <c:v>1332.8709677419356</c:v>
                </c:pt>
                <c:pt idx="54">
                  <c:v>775.87096774193549</c:v>
                </c:pt>
                <c:pt idx="55">
                  <c:v>450.87096774193549</c:v>
                </c:pt>
                <c:pt idx="56">
                  <c:v>354.87096774193549</c:v>
                </c:pt>
                <c:pt idx="57">
                  <c:v>446.87096774193549</c:v>
                </c:pt>
                <c:pt idx="58">
                  <c:v>497.87096774193549</c:v>
                </c:pt>
                <c:pt idx="59">
                  <c:v>884.87096774193549</c:v>
                </c:pt>
                <c:pt idx="60">
                  <c:v>1093.8709677419356</c:v>
                </c:pt>
                <c:pt idx="61">
                  <c:v>977.87096774193549</c:v>
                </c:pt>
                <c:pt idx="62">
                  <c:v>337.87096774193549</c:v>
                </c:pt>
                <c:pt idx="63">
                  <c:v>478.87096774193549</c:v>
                </c:pt>
                <c:pt idx="64">
                  <c:v>721.87096774193549</c:v>
                </c:pt>
                <c:pt idx="65">
                  <c:v>776.87096774193549</c:v>
                </c:pt>
                <c:pt idx="66">
                  <c:v>839.87096774193549</c:v>
                </c:pt>
                <c:pt idx="67">
                  <c:v>1670.8709677419356</c:v>
                </c:pt>
                <c:pt idx="68">
                  <c:v>933.87096774193549</c:v>
                </c:pt>
                <c:pt idx="69">
                  <c:v>424.87096774193549</c:v>
                </c:pt>
                <c:pt idx="70">
                  <c:v>523.87096774193549</c:v>
                </c:pt>
                <c:pt idx="71">
                  <c:v>782.87096774193549</c:v>
                </c:pt>
                <c:pt idx="72">
                  <c:v>940.87096774193549</c:v>
                </c:pt>
                <c:pt idx="73">
                  <c:v>1178.8709677419356</c:v>
                </c:pt>
                <c:pt idx="74">
                  <c:v>1608.8709677419356</c:v>
                </c:pt>
                <c:pt idx="75">
                  <c:v>1463.8709677419356</c:v>
                </c:pt>
                <c:pt idx="76">
                  <c:v>1054.8709677419356</c:v>
                </c:pt>
                <c:pt idx="77">
                  <c:v>659.87096774193549</c:v>
                </c:pt>
                <c:pt idx="78">
                  <c:v>596.87096774193549</c:v>
                </c:pt>
                <c:pt idx="79">
                  <c:v>1078.8709677419356</c:v>
                </c:pt>
                <c:pt idx="80">
                  <c:v>2083.8709677419356</c:v>
                </c:pt>
                <c:pt idx="81">
                  <c:v>3220.8709677419356</c:v>
                </c:pt>
                <c:pt idx="82">
                  <c:v>2979.8</c:v>
                </c:pt>
                <c:pt idx="83">
                  <c:v>1972.8</c:v>
                </c:pt>
                <c:pt idx="84">
                  <c:v>1865.8</c:v>
                </c:pt>
                <c:pt idx="85">
                  <c:v>2261.8000000000002</c:v>
                </c:pt>
                <c:pt idx="86">
                  <c:v>1967.8</c:v>
                </c:pt>
                <c:pt idx="87">
                  <c:v>2928.8</c:v>
                </c:pt>
                <c:pt idx="88">
                  <c:v>4233.8</c:v>
                </c:pt>
                <c:pt idx="89">
                  <c:v>3084.8</c:v>
                </c:pt>
                <c:pt idx="90">
                  <c:v>1895.8</c:v>
                </c:pt>
                <c:pt idx="91">
                  <c:v>2191.8000000000002</c:v>
                </c:pt>
                <c:pt idx="92">
                  <c:v>2224.8000000000002</c:v>
                </c:pt>
                <c:pt idx="93">
                  <c:v>2719.8</c:v>
                </c:pt>
                <c:pt idx="94">
                  <c:v>3435.8</c:v>
                </c:pt>
                <c:pt idx="95">
                  <c:v>5125.8</c:v>
                </c:pt>
                <c:pt idx="96">
                  <c:v>3890.8</c:v>
                </c:pt>
                <c:pt idx="97">
                  <c:v>2395.8000000000002</c:v>
                </c:pt>
                <c:pt idx="98">
                  <c:v>2714.8</c:v>
                </c:pt>
                <c:pt idx="99">
                  <c:v>2381.8000000000002</c:v>
                </c:pt>
                <c:pt idx="100">
                  <c:v>2668.8</c:v>
                </c:pt>
                <c:pt idx="101">
                  <c:v>3679.8</c:v>
                </c:pt>
                <c:pt idx="102">
                  <c:v>4621.8</c:v>
                </c:pt>
                <c:pt idx="103">
                  <c:v>3465.8</c:v>
                </c:pt>
                <c:pt idx="104">
                  <c:v>2276.8000000000002</c:v>
                </c:pt>
                <c:pt idx="105">
                  <c:v>2878.8</c:v>
                </c:pt>
                <c:pt idx="106">
                  <c:v>2394.8000000000002</c:v>
                </c:pt>
                <c:pt idx="107">
                  <c:v>3178.8</c:v>
                </c:pt>
                <c:pt idx="108">
                  <c:v>4806.8</c:v>
                </c:pt>
                <c:pt idx="109">
                  <c:v>7687.8</c:v>
                </c:pt>
                <c:pt idx="110">
                  <c:v>5599.8</c:v>
                </c:pt>
                <c:pt idx="111">
                  <c:v>3137.8</c:v>
                </c:pt>
                <c:pt idx="112">
                  <c:v>3048.516129032258</c:v>
                </c:pt>
                <c:pt idx="113">
                  <c:v>2862.516129032258</c:v>
                </c:pt>
                <c:pt idx="114">
                  <c:v>3187.516129032258</c:v>
                </c:pt>
                <c:pt idx="115">
                  <c:v>3964.516129032258</c:v>
                </c:pt>
                <c:pt idx="116">
                  <c:v>5364.5161290322585</c:v>
                </c:pt>
                <c:pt idx="117">
                  <c:v>4288.5161290322585</c:v>
                </c:pt>
                <c:pt idx="118">
                  <c:v>2267.516129032258</c:v>
                </c:pt>
                <c:pt idx="119">
                  <c:v>2405.516129032258</c:v>
                </c:pt>
                <c:pt idx="120">
                  <c:v>2354.516129032258</c:v>
                </c:pt>
                <c:pt idx="121">
                  <c:v>2664.516129032258</c:v>
                </c:pt>
                <c:pt idx="122">
                  <c:v>4923.5161290322585</c:v>
                </c:pt>
                <c:pt idx="123">
                  <c:v>7627.5161290322585</c:v>
                </c:pt>
                <c:pt idx="124">
                  <c:v>5002.5161290322585</c:v>
                </c:pt>
                <c:pt idx="125">
                  <c:v>2895.516129032258</c:v>
                </c:pt>
                <c:pt idx="126">
                  <c:v>2995.516129032258</c:v>
                </c:pt>
                <c:pt idx="127">
                  <c:v>3369.516129032258</c:v>
                </c:pt>
                <c:pt idx="128">
                  <c:v>3613.516129032258</c:v>
                </c:pt>
                <c:pt idx="129">
                  <c:v>4993.5161290322585</c:v>
                </c:pt>
                <c:pt idx="130">
                  <c:v>6976.5161290322585</c:v>
                </c:pt>
                <c:pt idx="131">
                  <c:v>5795.5161290322585</c:v>
                </c:pt>
                <c:pt idx="132">
                  <c:v>3472.516129032258</c:v>
                </c:pt>
                <c:pt idx="133">
                  <c:v>3334.516129032258</c:v>
                </c:pt>
                <c:pt idx="134">
                  <c:v>3762.516129032258</c:v>
                </c:pt>
                <c:pt idx="135">
                  <c:v>4497.5161290322585</c:v>
                </c:pt>
                <c:pt idx="136">
                  <c:v>5437.5161290322585</c:v>
                </c:pt>
                <c:pt idx="137">
                  <c:v>8684.5161290322576</c:v>
                </c:pt>
                <c:pt idx="138">
                  <c:v>6165.5161290322585</c:v>
                </c:pt>
                <c:pt idx="139">
                  <c:v>2506.516129032258</c:v>
                </c:pt>
                <c:pt idx="140">
                  <c:v>2375.516129032258</c:v>
                </c:pt>
                <c:pt idx="141">
                  <c:v>2875.516129032258</c:v>
                </c:pt>
                <c:pt idx="142">
                  <c:v>3217.516129032258</c:v>
                </c:pt>
                <c:pt idx="143">
                  <c:v>4408.2333333333336</c:v>
                </c:pt>
                <c:pt idx="144">
                  <c:v>6552.2333333333336</c:v>
                </c:pt>
                <c:pt idx="145">
                  <c:v>3932.2333333333331</c:v>
                </c:pt>
                <c:pt idx="146">
                  <c:v>1687.2333333333333</c:v>
                </c:pt>
                <c:pt idx="147">
                  <c:v>2101.2333333333331</c:v>
                </c:pt>
                <c:pt idx="148">
                  <c:v>2244.2333333333331</c:v>
                </c:pt>
                <c:pt idx="149">
                  <c:v>2257.2333333333331</c:v>
                </c:pt>
                <c:pt idx="150">
                  <c:v>2724.2333333333331</c:v>
                </c:pt>
                <c:pt idx="151">
                  <c:v>4865.2333333333336</c:v>
                </c:pt>
                <c:pt idx="152">
                  <c:v>2880.2333333333331</c:v>
                </c:pt>
                <c:pt idx="153">
                  <c:v>1510.2333333333333</c:v>
                </c:pt>
                <c:pt idx="154">
                  <c:v>1334.2333333333333</c:v>
                </c:pt>
                <c:pt idx="155">
                  <c:v>1529.2333333333333</c:v>
                </c:pt>
                <c:pt idx="156">
                  <c:v>1549.2333333333333</c:v>
                </c:pt>
                <c:pt idx="157">
                  <c:v>2250.2333333333331</c:v>
                </c:pt>
                <c:pt idx="158">
                  <c:v>2945.2333333333331</c:v>
                </c:pt>
                <c:pt idx="159">
                  <c:v>2191.2333333333331</c:v>
                </c:pt>
                <c:pt idx="160">
                  <c:v>1326.2333333333333</c:v>
                </c:pt>
                <c:pt idx="161">
                  <c:v>1314.2333333333333</c:v>
                </c:pt>
                <c:pt idx="162">
                  <c:v>1286.2333333333333</c:v>
                </c:pt>
                <c:pt idx="163">
                  <c:v>1432.2333333333333</c:v>
                </c:pt>
                <c:pt idx="164">
                  <c:v>2048.2333333333331</c:v>
                </c:pt>
                <c:pt idx="165">
                  <c:v>3308.2333333333331</c:v>
                </c:pt>
                <c:pt idx="166">
                  <c:v>2279.2333333333331</c:v>
                </c:pt>
                <c:pt idx="167">
                  <c:v>1389.2333333333333</c:v>
                </c:pt>
                <c:pt idx="168">
                  <c:v>1666.2333333333333</c:v>
                </c:pt>
                <c:pt idx="169">
                  <c:v>1783.2333333333333</c:v>
                </c:pt>
                <c:pt idx="170">
                  <c:v>1961.2333333333333</c:v>
                </c:pt>
                <c:pt idx="171">
                  <c:v>2665.2333333333331</c:v>
                </c:pt>
                <c:pt idx="172">
                  <c:v>4164.2333333333336</c:v>
                </c:pt>
                <c:pt idx="173">
                  <c:v>2945.9677419354839</c:v>
                </c:pt>
                <c:pt idx="174">
                  <c:v>683.9677419354839</c:v>
                </c:pt>
                <c:pt idx="175">
                  <c:v>682.9677419354839</c:v>
                </c:pt>
                <c:pt idx="176">
                  <c:v>990.9677419354839</c:v>
                </c:pt>
                <c:pt idx="177">
                  <c:v>1823.9677419354839</c:v>
                </c:pt>
                <c:pt idx="178">
                  <c:v>3661.9677419354839</c:v>
                </c:pt>
                <c:pt idx="179">
                  <c:v>5424.9677419354839</c:v>
                </c:pt>
                <c:pt idx="180">
                  <c:v>3998.9677419354839</c:v>
                </c:pt>
                <c:pt idx="181">
                  <c:v>2372.9677419354839</c:v>
                </c:pt>
                <c:pt idx="182">
                  <c:v>2242.9677419354839</c:v>
                </c:pt>
                <c:pt idx="183">
                  <c:v>2551.9677419354839</c:v>
                </c:pt>
                <c:pt idx="184">
                  <c:v>3656.9677419354839</c:v>
                </c:pt>
                <c:pt idx="185">
                  <c:v>4378.9677419354839</c:v>
                </c:pt>
                <c:pt idx="186">
                  <c:v>5184.9677419354839</c:v>
                </c:pt>
                <c:pt idx="187">
                  <c:v>4224.9677419354839</c:v>
                </c:pt>
                <c:pt idx="188">
                  <c:v>2329.9677419354839</c:v>
                </c:pt>
                <c:pt idx="189">
                  <c:v>2691.9677419354839</c:v>
                </c:pt>
                <c:pt idx="190">
                  <c:v>2799.9677419354839</c:v>
                </c:pt>
                <c:pt idx="191">
                  <c:v>3689.9677419354839</c:v>
                </c:pt>
                <c:pt idx="192">
                  <c:v>5005.9677419354839</c:v>
                </c:pt>
                <c:pt idx="193">
                  <c:v>6217.9677419354839</c:v>
                </c:pt>
                <c:pt idx="194">
                  <c:v>5568.9677419354839</c:v>
                </c:pt>
                <c:pt idx="195">
                  <c:v>3628.9677419354839</c:v>
                </c:pt>
                <c:pt idx="196">
                  <c:v>6561.9677419354839</c:v>
                </c:pt>
                <c:pt idx="197">
                  <c:v>9293.967741935483</c:v>
                </c:pt>
                <c:pt idx="198">
                  <c:v>7721.9677419354839</c:v>
                </c:pt>
                <c:pt idx="199">
                  <c:v>6825.9677419354839</c:v>
                </c:pt>
                <c:pt idx="200">
                  <c:v>7470.9677419354839</c:v>
                </c:pt>
                <c:pt idx="201">
                  <c:v>6994.9677419354839</c:v>
                </c:pt>
                <c:pt idx="202">
                  <c:v>5137.9677419354839</c:v>
                </c:pt>
                <c:pt idx="203">
                  <c:v>8519.967741935483</c:v>
                </c:pt>
                <c:pt idx="204">
                  <c:v>6003.7419354838712</c:v>
                </c:pt>
                <c:pt idx="205">
                  <c:v>4130.7419354838712</c:v>
                </c:pt>
                <c:pt idx="206">
                  <c:v>4717.7419354838712</c:v>
                </c:pt>
                <c:pt idx="207">
                  <c:v>5424.7419354838712</c:v>
                </c:pt>
                <c:pt idx="208">
                  <c:v>4972.7419354838712</c:v>
                </c:pt>
                <c:pt idx="209">
                  <c:v>3544.7419354838712</c:v>
                </c:pt>
                <c:pt idx="210">
                  <c:v>3039.7419354838712</c:v>
                </c:pt>
                <c:pt idx="211">
                  <c:v>3377.7419354838712</c:v>
                </c:pt>
                <c:pt idx="212">
                  <c:v>3699.7419354838712</c:v>
                </c:pt>
                <c:pt idx="213">
                  <c:v>4391.7419354838712</c:v>
                </c:pt>
                <c:pt idx="214">
                  <c:v>6249.7419354838712</c:v>
                </c:pt>
                <c:pt idx="215">
                  <c:v>4842.7419354838712</c:v>
                </c:pt>
                <c:pt idx="216">
                  <c:v>3570.7419354838712</c:v>
                </c:pt>
                <c:pt idx="217">
                  <c:v>3931.7419354838712</c:v>
                </c:pt>
                <c:pt idx="218">
                  <c:v>3496.7419354838712</c:v>
                </c:pt>
                <c:pt idx="219">
                  <c:v>2491.7419354838712</c:v>
                </c:pt>
                <c:pt idx="220">
                  <c:v>3384.7419354838712</c:v>
                </c:pt>
                <c:pt idx="221">
                  <c:v>5244.7419354838712</c:v>
                </c:pt>
                <c:pt idx="222">
                  <c:v>3493.7419354838712</c:v>
                </c:pt>
                <c:pt idx="223">
                  <c:v>1943.741935483871</c:v>
                </c:pt>
                <c:pt idx="224">
                  <c:v>2104.7419354838712</c:v>
                </c:pt>
                <c:pt idx="225">
                  <c:v>2211.7419354838712</c:v>
                </c:pt>
                <c:pt idx="226">
                  <c:v>2115.7419354838712</c:v>
                </c:pt>
                <c:pt idx="227">
                  <c:v>3263.7419354838712</c:v>
                </c:pt>
                <c:pt idx="228">
                  <c:v>4463.7419354838712</c:v>
                </c:pt>
                <c:pt idx="229">
                  <c:v>3431.7419354838712</c:v>
                </c:pt>
                <c:pt idx="230">
                  <c:v>1759.741935483871</c:v>
                </c:pt>
                <c:pt idx="231">
                  <c:v>1688.741935483871</c:v>
                </c:pt>
                <c:pt idx="232">
                  <c:v>2002.741935483871</c:v>
                </c:pt>
                <c:pt idx="233">
                  <c:v>1628.741935483871</c:v>
                </c:pt>
                <c:pt idx="234">
                  <c:v>2403.7419354838712</c:v>
                </c:pt>
                <c:pt idx="235">
                  <c:v>3331.0689655172414</c:v>
                </c:pt>
                <c:pt idx="236">
                  <c:v>2099.0689655172414</c:v>
                </c:pt>
                <c:pt idx="237">
                  <c:v>967.06896551724139</c:v>
                </c:pt>
                <c:pt idx="238">
                  <c:v>992.06896551724139</c:v>
                </c:pt>
                <c:pt idx="239">
                  <c:v>891.06896551724139</c:v>
                </c:pt>
                <c:pt idx="240">
                  <c:v>1124.0689655172414</c:v>
                </c:pt>
                <c:pt idx="241">
                  <c:v>1828.0689655172414</c:v>
                </c:pt>
                <c:pt idx="242">
                  <c:v>2454.0689655172414</c:v>
                </c:pt>
                <c:pt idx="243">
                  <c:v>2012.0689655172414</c:v>
                </c:pt>
                <c:pt idx="244">
                  <c:v>1023.0689655172414</c:v>
                </c:pt>
                <c:pt idx="245">
                  <c:v>833.06896551724139</c:v>
                </c:pt>
                <c:pt idx="246">
                  <c:v>687.06896551724139</c:v>
                </c:pt>
                <c:pt idx="247">
                  <c:v>889.06896551724139</c:v>
                </c:pt>
                <c:pt idx="248">
                  <c:v>1490.0689655172414</c:v>
                </c:pt>
                <c:pt idx="249">
                  <c:v>2477.0689655172414</c:v>
                </c:pt>
                <c:pt idx="250">
                  <c:v>1884.0689655172414</c:v>
                </c:pt>
                <c:pt idx="251">
                  <c:v>865.06896551724139</c:v>
                </c:pt>
                <c:pt idx="252">
                  <c:v>846.06896551724139</c:v>
                </c:pt>
                <c:pt idx="253">
                  <c:v>952.06896551724139</c:v>
                </c:pt>
                <c:pt idx="254">
                  <c:v>935.06896551724139</c:v>
                </c:pt>
                <c:pt idx="255">
                  <c:v>1286.0689655172414</c:v>
                </c:pt>
                <c:pt idx="256">
                  <c:v>2650.0689655172414</c:v>
                </c:pt>
                <c:pt idx="257">
                  <c:v>2150.0689655172414</c:v>
                </c:pt>
                <c:pt idx="258">
                  <c:v>1206.0689655172414</c:v>
                </c:pt>
                <c:pt idx="259">
                  <c:v>1016.0689655172414</c:v>
                </c:pt>
                <c:pt idx="260">
                  <c:v>1140.0689655172414</c:v>
                </c:pt>
                <c:pt idx="261">
                  <c:v>1249.0689655172414</c:v>
                </c:pt>
                <c:pt idx="262">
                  <c:v>1363.0689655172414</c:v>
                </c:pt>
                <c:pt idx="263">
                  <c:v>2514.0689655172414</c:v>
                </c:pt>
                <c:pt idx="264">
                  <c:v>1831.8064516129032</c:v>
                </c:pt>
                <c:pt idx="265">
                  <c:v>901.80645161290317</c:v>
                </c:pt>
                <c:pt idx="266">
                  <c:v>1299.8064516129032</c:v>
                </c:pt>
                <c:pt idx="267">
                  <c:v>1655.8064516129032</c:v>
                </c:pt>
                <c:pt idx="268">
                  <c:v>2207.8064516129034</c:v>
                </c:pt>
                <c:pt idx="269">
                  <c:v>2781.8064516129034</c:v>
                </c:pt>
                <c:pt idx="270">
                  <c:v>4247.8064516129034</c:v>
                </c:pt>
                <c:pt idx="271">
                  <c:v>3121.8064516129034</c:v>
                </c:pt>
                <c:pt idx="272">
                  <c:v>2179.8064516129034</c:v>
                </c:pt>
                <c:pt idx="273">
                  <c:v>1445.8064516129032</c:v>
                </c:pt>
                <c:pt idx="274">
                  <c:v>1298.8064516129032</c:v>
                </c:pt>
                <c:pt idx="275">
                  <c:v>1180.8064516129032</c:v>
                </c:pt>
                <c:pt idx="276">
                  <c:v>1741.8064516129032</c:v>
                </c:pt>
                <c:pt idx="277">
                  <c:v>2371.8064516129034</c:v>
                </c:pt>
                <c:pt idx="278">
                  <c:v>1569.8064516129032</c:v>
                </c:pt>
                <c:pt idx="279">
                  <c:v>1243.8064516129032</c:v>
                </c:pt>
                <c:pt idx="280">
                  <c:v>587.80645161290317</c:v>
                </c:pt>
                <c:pt idx="281">
                  <c:v>575.80645161290317</c:v>
                </c:pt>
                <c:pt idx="282">
                  <c:v>924.80645161290317</c:v>
                </c:pt>
                <c:pt idx="283">
                  <c:v>979.80645161290317</c:v>
                </c:pt>
                <c:pt idx="284">
                  <c:v>860.80645161290317</c:v>
                </c:pt>
                <c:pt idx="285">
                  <c:v>559.80645161290317</c:v>
                </c:pt>
                <c:pt idx="286">
                  <c:v>419.80645161290323</c:v>
                </c:pt>
                <c:pt idx="287">
                  <c:v>469.80645161290323</c:v>
                </c:pt>
                <c:pt idx="288">
                  <c:v>338.80645161290323</c:v>
                </c:pt>
                <c:pt idx="289">
                  <c:v>325.80645161290323</c:v>
                </c:pt>
                <c:pt idx="290">
                  <c:v>443.80645161290323</c:v>
                </c:pt>
                <c:pt idx="291">
                  <c:v>350.80645161290323</c:v>
                </c:pt>
                <c:pt idx="292">
                  <c:v>197.80645161290323</c:v>
                </c:pt>
                <c:pt idx="293">
                  <c:v>134.80645161290323</c:v>
                </c:pt>
                <c:pt idx="294">
                  <c:v>127.80645161290323</c:v>
                </c:pt>
                <c:pt idx="295">
                  <c:v>168</c:v>
                </c:pt>
                <c:pt idx="296">
                  <c:v>88</c:v>
                </c:pt>
                <c:pt idx="297">
                  <c:v>146</c:v>
                </c:pt>
                <c:pt idx="298">
                  <c:v>112</c:v>
                </c:pt>
                <c:pt idx="299">
                  <c:v>112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21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9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11</c:v>
                </c:pt>
                <c:pt idx="355">
                  <c:v>0</c:v>
                </c:pt>
                <c:pt idx="356">
                  <c:v>11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11</c:v>
                </c:pt>
                <c:pt idx="370">
                  <c:v>0</c:v>
                </c:pt>
                <c:pt idx="371">
                  <c:v>6</c:v>
                </c:pt>
                <c:pt idx="372">
                  <c:v>22</c:v>
                </c:pt>
                <c:pt idx="373">
                  <c:v>0</c:v>
                </c:pt>
                <c:pt idx="374">
                  <c:v>8</c:v>
                </c:pt>
                <c:pt idx="375">
                  <c:v>11</c:v>
                </c:pt>
                <c:pt idx="376">
                  <c:v>11</c:v>
                </c:pt>
                <c:pt idx="377">
                  <c:v>11</c:v>
                </c:pt>
                <c:pt idx="378">
                  <c:v>51</c:v>
                </c:pt>
                <c:pt idx="379">
                  <c:v>19</c:v>
                </c:pt>
                <c:pt idx="380">
                  <c:v>22</c:v>
                </c:pt>
                <c:pt idx="381">
                  <c:v>32</c:v>
                </c:pt>
                <c:pt idx="382">
                  <c:v>22</c:v>
                </c:pt>
                <c:pt idx="383">
                  <c:v>44</c:v>
                </c:pt>
                <c:pt idx="384">
                  <c:v>0</c:v>
                </c:pt>
                <c:pt idx="385">
                  <c:v>19</c:v>
                </c:pt>
                <c:pt idx="386">
                  <c:v>0</c:v>
                </c:pt>
                <c:pt idx="387">
                  <c:v>49</c:v>
                </c:pt>
                <c:pt idx="388">
                  <c:v>65</c:v>
                </c:pt>
                <c:pt idx="389">
                  <c:v>74</c:v>
                </c:pt>
                <c:pt idx="390">
                  <c:v>11</c:v>
                </c:pt>
                <c:pt idx="391">
                  <c:v>0</c:v>
                </c:pt>
                <c:pt idx="392">
                  <c:v>78</c:v>
                </c:pt>
                <c:pt idx="393">
                  <c:v>84</c:v>
                </c:pt>
                <c:pt idx="394">
                  <c:v>31</c:v>
                </c:pt>
                <c:pt idx="395">
                  <c:v>96.220967741935482</c:v>
                </c:pt>
                <c:pt idx="396">
                  <c:v>92</c:v>
                </c:pt>
                <c:pt idx="397">
                  <c:v>54.220967741935482</c:v>
                </c:pt>
                <c:pt idx="398">
                  <c:v>62</c:v>
                </c:pt>
                <c:pt idx="399">
                  <c:v>64</c:v>
                </c:pt>
                <c:pt idx="400">
                  <c:v>85</c:v>
                </c:pt>
                <c:pt idx="401">
                  <c:v>122.22096774193548</c:v>
                </c:pt>
                <c:pt idx="402">
                  <c:v>117.22096774193548</c:v>
                </c:pt>
                <c:pt idx="403">
                  <c:v>152.22096774193548</c:v>
                </c:pt>
                <c:pt idx="404">
                  <c:v>1.2209677419354819</c:v>
                </c:pt>
                <c:pt idx="405">
                  <c:v>75</c:v>
                </c:pt>
                <c:pt idx="406">
                  <c:v>90</c:v>
                </c:pt>
                <c:pt idx="407">
                  <c:v>60</c:v>
                </c:pt>
                <c:pt idx="408">
                  <c:v>69</c:v>
                </c:pt>
                <c:pt idx="409">
                  <c:v>54.220967741935482</c:v>
                </c:pt>
                <c:pt idx="410">
                  <c:v>215.22096774193548</c:v>
                </c:pt>
                <c:pt idx="411">
                  <c:v>226.22096774193548</c:v>
                </c:pt>
                <c:pt idx="412">
                  <c:v>40.220967741935482</c:v>
                </c:pt>
                <c:pt idx="413">
                  <c:v>123.22096774193548</c:v>
                </c:pt>
                <c:pt idx="414">
                  <c:v>96.220967741935482</c:v>
                </c:pt>
                <c:pt idx="415">
                  <c:v>171.22096774193548</c:v>
                </c:pt>
                <c:pt idx="416">
                  <c:v>514.22096774193551</c:v>
                </c:pt>
                <c:pt idx="417">
                  <c:v>610.0322580645161</c:v>
                </c:pt>
                <c:pt idx="418">
                  <c:v>437.0322580645161</c:v>
                </c:pt>
                <c:pt idx="419">
                  <c:v>127.03225806451613</c:v>
                </c:pt>
                <c:pt idx="420">
                  <c:v>142.03225806451613</c:v>
                </c:pt>
                <c:pt idx="421">
                  <c:v>232.03225806451613</c:v>
                </c:pt>
                <c:pt idx="422">
                  <c:v>242.03225806451613</c:v>
                </c:pt>
                <c:pt idx="423">
                  <c:v>374.0322580645161</c:v>
                </c:pt>
                <c:pt idx="424">
                  <c:v>653.0322580645161</c:v>
                </c:pt>
                <c:pt idx="425">
                  <c:v>614.0322580645161</c:v>
                </c:pt>
                <c:pt idx="426">
                  <c:v>322.0322580645161</c:v>
                </c:pt>
                <c:pt idx="427">
                  <c:v>298.0322580645161</c:v>
                </c:pt>
                <c:pt idx="428">
                  <c:v>251.03225806451613</c:v>
                </c:pt>
                <c:pt idx="429">
                  <c:v>321.0322580645161</c:v>
                </c:pt>
                <c:pt idx="430">
                  <c:v>735.0322580645161</c:v>
                </c:pt>
                <c:pt idx="431">
                  <c:v>952.0322580645161</c:v>
                </c:pt>
                <c:pt idx="432">
                  <c:v>772.0322580645161</c:v>
                </c:pt>
                <c:pt idx="433">
                  <c:v>522.0322580645161</c:v>
                </c:pt>
                <c:pt idx="434">
                  <c:v>426.0322580645161</c:v>
                </c:pt>
                <c:pt idx="435">
                  <c:v>589.0322580645161</c:v>
                </c:pt>
                <c:pt idx="436">
                  <c:v>369.0322580645161</c:v>
                </c:pt>
                <c:pt idx="437">
                  <c:v>612.0322580645161</c:v>
                </c:pt>
                <c:pt idx="438">
                  <c:v>1216.0322580645161</c:v>
                </c:pt>
                <c:pt idx="439">
                  <c:v>1226.0322580645161</c:v>
                </c:pt>
                <c:pt idx="440">
                  <c:v>781.0322580645161</c:v>
                </c:pt>
                <c:pt idx="441">
                  <c:v>877.0322580645161</c:v>
                </c:pt>
                <c:pt idx="442">
                  <c:v>1077.0322580645161</c:v>
                </c:pt>
                <c:pt idx="443">
                  <c:v>867.0322580645161</c:v>
                </c:pt>
                <c:pt idx="444">
                  <c:v>1051.0322580645161</c:v>
                </c:pt>
                <c:pt idx="445">
                  <c:v>1603.0322580645161</c:v>
                </c:pt>
                <c:pt idx="446">
                  <c:v>1493.0322580645161</c:v>
                </c:pt>
                <c:pt idx="447">
                  <c:v>1296.0322580645161</c:v>
                </c:pt>
                <c:pt idx="448">
                  <c:v>583.86666666666667</c:v>
                </c:pt>
                <c:pt idx="449">
                  <c:v>593.86666666666667</c:v>
                </c:pt>
                <c:pt idx="450">
                  <c:v>636.86666666666667</c:v>
                </c:pt>
                <c:pt idx="451">
                  <c:v>944.86666666666667</c:v>
                </c:pt>
                <c:pt idx="452">
                  <c:v>1442.8666666666668</c:v>
                </c:pt>
                <c:pt idx="453">
                  <c:v>1024.8666666666668</c:v>
                </c:pt>
                <c:pt idx="454">
                  <c:v>486.86666666666667</c:v>
                </c:pt>
                <c:pt idx="455">
                  <c:v>519.86666666666667</c:v>
                </c:pt>
                <c:pt idx="456">
                  <c:v>531.86666666666667</c:v>
                </c:pt>
                <c:pt idx="457">
                  <c:v>444.86666666666667</c:v>
                </c:pt>
                <c:pt idx="458">
                  <c:v>875.86666666666667</c:v>
                </c:pt>
                <c:pt idx="459">
                  <c:v>1466.8666666666668</c:v>
                </c:pt>
                <c:pt idx="460">
                  <c:v>1023.8666666666667</c:v>
                </c:pt>
                <c:pt idx="461">
                  <c:v>675.86666666666667</c:v>
                </c:pt>
                <c:pt idx="462">
                  <c:v>781.86666666666667</c:v>
                </c:pt>
                <c:pt idx="463">
                  <c:v>877.86666666666667</c:v>
                </c:pt>
                <c:pt idx="464">
                  <c:v>989.86666666666667</c:v>
                </c:pt>
                <c:pt idx="465">
                  <c:v>1588.8666666666668</c:v>
                </c:pt>
                <c:pt idx="466">
                  <c:v>2264.8666666666668</c:v>
                </c:pt>
                <c:pt idx="467">
                  <c:v>1702.8666666666668</c:v>
                </c:pt>
                <c:pt idx="468">
                  <c:v>857.86666666666667</c:v>
                </c:pt>
                <c:pt idx="469">
                  <c:v>811.86666666666667</c:v>
                </c:pt>
                <c:pt idx="470">
                  <c:v>978.86666666666667</c:v>
                </c:pt>
                <c:pt idx="471">
                  <c:v>872.86666666666667</c:v>
                </c:pt>
                <c:pt idx="472">
                  <c:v>1308.8666666666668</c:v>
                </c:pt>
                <c:pt idx="473">
                  <c:v>1734.8666666666668</c:v>
                </c:pt>
                <c:pt idx="474">
                  <c:v>1412.8666666666668</c:v>
                </c:pt>
                <c:pt idx="475">
                  <c:v>585.86666666666667</c:v>
                </c:pt>
                <c:pt idx="476">
                  <c:v>787.86666666666667</c:v>
                </c:pt>
                <c:pt idx="477">
                  <c:v>1111.8666666666668</c:v>
                </c:pt>
                <c:pt idx="478">
                  <c:v>1171.3548387096773</c:v>
                </c:pt>
                <c:pt idx="479">
                  <c:v>1640.3548387096773</c:v>
                </c:pt>
                <c:pt idx="480">
                  <c:v>2346.3548387096776</c:v>
                </c:pt>
                <c:pt idx="481">
                  <c:v>1846.3548387096773</c:v>
                </c:pt>
                <c:pt idx="482">
                  <c:v>956.35483870967744</c:v>
                </c:pt>
                <c:pt idx="483">
                  <c:v>957.35483870967744</c:v>
                </c:pt>
                <c:pt idx="484">
                  <c:v>1052.3548387096773</c:v>
                </c:pt>
                <c:pt idx="485">
                  <c:v>1042.3548387096773</c:v>
                </c:pt>
                <c:pt idx="486">
                  <c:v>1209.3548387096773</c:v>
                </c:pt>
                <c:pt idx="487">
                  <c:v>2372.3548387096776</c:v>
                </c:pt>
                <c:pt idx="488">
                  <c:v>1436.3548387096773</c:v>
                </c:pt>
                <c:pt idx="489">
                  <c:v>834.35483870967744</c:v>
                </c:pt>
                <c:pt idx="490">
                  <c:v>681.35483870967744</c:v>
                </c:pt>
                <c:pt idx="491">
                  <c:v>1167.3548387096773</c:v>
                </c:pt>
                <c:pt idx="492">
                  <c:v>986.35483870967744</c:v>
                </c:pt>
                <c:pt idx="493">
                  <c:v>1571.3548387096773</c:v>
                </c:pt>
                <c:pt idx="494">
                  <c:v>2183.3548387096776</c:v>
                </c:pt>
                <c:pt idx="495">
                  <c:v>1270.3548387096773</c:v>
                </c:pt>
                <c:pt idx="496">
                  <c:v>959.35483870967744</c:v>
                </c:pt>
                <c:pt idx="497">
                  <c:v>860.35483870967744</c:v>
                </c:pt>
                <c:pt idx="498">
                  <c:v>1451.3548387096773</c:v>
                </c:pt>
                <c:pt idx="499">
                  <c:v>1902.3548387096773</c:v>
                </c:pt>
                <c:pt idx="500">
                  <c:v>3786.3548387096776</c:v>
                </c:pt>
                <c:pt idx="501">
                  <c:v>4903.3548387096771</c:v>
                </c:pt>
                <c:pt idx="502">
                  <c:v>3664.3548387096776</c:v>
                </c:pt>
                <c:pt idx="503">
                  <c:v>2579.3548387096776</c:v>
                </c:pt>
                <c:pt idx="504">
                  <c:v>2706.3548387096776</c:v>
                </c:pt>
                <c:pt idx="505">
                  <c:v>2484.3548387096776</c:v>
                </c:pt>
                <c:pt idx="506">
                  <c:v>3078.3548387096776</c:v>
                </c:pt>
                <c:pt idx="507">
                  <c:v>3920.3548387096776</c:v>
                </c:pt>
                <c:pt idx="508">
                  <c:v>6529.3548387096771</c:v>
                </c:pt>
                <c:pt idx="509">
                  <c:v>4280.2666666666664</c:v>
                </c:pt>
                <c:pt idx="510">
                  <c:v>6670.2666666666664</c:v>
                </c:pt>
                <c:pt idx="511">
                  <c:v>8857.2666666666664</c:v>
                </c:pt>
                <c:pt idx="512">
                  <c:v>9598.2666666666664</c:v>
                </c:pt>
                <c:pt idx="513">
                  <c:v>4263.2666666666664</c:v>
                </c:pt>
                <c:pt idx="514">
                  <c:v>3258.2666666666669</c:v>
                </c:pt>
                <c:pt idx="515">
                  <c:v>3599.2666666666669</c:v>
                </c:pt>
                <c:pt idx="516">
                  <c:v>3025.2666666666669</c:v>
                </c:pt>
                <c:pt idx="517">
                  <c:v>2747.2666666666669</c:v>
                </c:pt>
                <c:pt idx="518">
                  <c:v>3329.2666666666669</c:v>
                </c:pt>
                <c:pt idx="519">
                  <c:v>3778.2666666666669</c:v>
                </c:pt>
                <c:pt idx="520">
                  <c:v>3513.2666666666669</c:v>
                </c:pt>
                <c:pt idx="521">
                  <c:v>4377.2666666666664</c:v>
                </c:pt>
                <c:pt idx="522">
                  <c:v>4795.2666666666664</c:v>
                </c:pt>
                <c:pt idx="523">
                  <c:v>836.26666666666665</c:v>
                </c:pt>
                <c:pt idx="524">
                  <c:v>731.26666666666665</c:v>
                </c:pt>
                <c:pt idx="525">
                  <c:v>494.26666666666665</c:v>
                </c:pt>
                <c:pt idx="526">
                  <c:v>626.26666666666665</c:v>
                </c:pt>
                <c:pt idx="527">
                  <c:v>644.26666666666665</c:v>
                </c:pt>
                <c:pt idx="528">
                  <c:v>740.26666666666665</c:v>
                </c:pt>
                <c:pt idx="529">
                  <c:v>915.26666666666665</c:v>
                </c:pt>
                <c:pt idx="530">
                  <c:v>799.26666666666665</c:v>
                </c:pt>
                <c:pt idx="531">
                  <c:v>512.26666666666665</c:v>
                </c:pt>
                <c:pt idx="532">
                  <c:v>635.26666666666665</c:v>
                </c:pt>
                <c:pt idx="533">
                  <c:v>561.26666666666665</c:v>
                </c:pt>
                <c:pt idx="534">
                  <c:v>642.26666666666665</c:v>
                </c:pt>
                <c:pt idx="535">
                  <c:v>726.26666666666665</c:v>
                </c:pt>
                <c:pt idx="536">
                  <c:v>858.26666666666665</c:v>
                </c:pt>
                <c:pt idx="537">
                  <c:v>697.26666666666665</c:v>
                </c:pt>
                <c:pt idx="538">
                  <c:v>389.26666666666665</c:v>
                </c:pt>
                <c:pt idx="539">
                  <c:v>378.54838709677421</c:v>
                </c:pt>
                <c:pt idx="540">
                  <c:v>584.54838709677415</c:v>
                </c:pt>
                <c:pt idx="541">
                  <c:v>607.54838709677415</c:v>
                </c:pt>
                <c:pt idx="542">
                  <c:v>664.54838709677415</c:v>
                </c:pt>
                <c:pt idx="543">
                  <c:v>1123.5483870967741</c:v>
                </c:pt>
                <c:pt idx="544">
                  <c:v>871.54838709677415</c:v>
                </c:pt>
                <c:pt idx="545">
                  <c:v>501.54838709677421</c:v>
                </c:pt>
                <c:pt idx="546">
                  <c:v>598.54838709677415</c:v>
                </c:pt>
                <c:pt idx="547">
                  <c:v>533.54838709677415</c:v>
                </c:pt>
                <c:pt idx="548">
                  <c:v>648.54838709677415</c:v>
                </c:pt>
                <c:pt idx="549">
                  <c:v>878.54838709677415</c:v>
                </c:pt>
                <c:pt idx="550">
                  <c:v>967.54838709677415</c:v>
                </c:pt>
                <c:pt idx="551">
                  <c:v>612.54838709677415</c:v>
                </c:pt>
                <c:pt idx="552">
                  <c:v>469.54838709677421</c:v>
                </c:pt>
                <c:pt idx="553">
                  <c:v>496.54838709677421</c:v>
                </c:pt>
                <c:pt idx="554">
                  <c:v>380.54838709677421</c:v>
                </c:pt>
                <c:pt idx="555">
                  <c:v>393.54838709677421</c:v>
                </c:pt>
                <c:pt idx="556">
                  <c:v>517.54838709677415</c:v>
                </c:pt>
                <c:pt idx="557">
                  <c:v>543.54838709677415</c:v>
                </c:pt>
                <c:pt idx="558">
                  <c:v>340.54838709677421</c:v>
                </c:pt>
                <c:pt idx="559">
                  <c:v>353.54838709677421</c:v>
                </c:pt>
                <c:pt idx="560">
                  <c:v>336.54838709677421</c:v>
                </c:pt>
                <c:pt idx="561">
                  <c:v>355.54838709677421</c:v>
                </c:pt>
                <c:pt idx="562">
                  <c:v>514.54838709677415</c:v>
                </c:pt>
                <c:pt idx="563">
                  <c:v>740.54838709677415</c:v>
                </c:pt>
                <c:pt idx="564">
                  <c:v>300.54838709677421</c:v>
                </c:pt>
                <c:pt idx="565">
                  <c:v>291.54838709677421</c:v>
                </c:pt>
                <c:pt idx="566">
                  <c:v>344.54838709677421</c:v>
                </c:pt>
                <c:pt idx="567">
                  <c:v>206.54838709677421</c:v>
                </c:pt>
                <c:pt idx="568">
                  <c:v>279.54838709677421</c:v>
                </c:pt>
                <c:pt idx="569">
                  <c:v>312.54838709677421</c:v>
                </c:pt>
                <c:pt idx="570">
                  <c:v>110.2258064516129</c:v>
                </c:pt>
                <c:pt idx="571">
                  <c:v>51.225806451612904</c:v>
                </c:pt>
                <c:pt idx="572">
                  <c:v>42.225806451612904</c:v>
                </c:pt>
                <c:pt idx="573">
                  <c:v>51.225806451612904</c:v>
                </c:pt>
                <c:pt idx="574">
                  <c:v>28.225806451612904</c:v>
                </c:pt>
                <c:pt idx="575">
                  <c:v>23.225806451612904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18.225806451612904</c:v>
                </c:pt>
                <c:pt idx="585">
                  <c:v>8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1.2258064516129039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11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17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17</c:v>
                </c:pt>
                <c:pt idx="612">
                  <c:v>17</c:v>
                </c:pt>
                <c:pt idx="613">
                  <c:v>14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23</c:v>
                </c:pt>
                <c:pt idx="619">
                  <c:v>0</c:v>
                </c:pt>
                <c:pt idx="620">
                  <c:v>0</c:v>
                </c:pt>
                <c:pt idx="621">
                  <c:v>12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11.567741935483872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22.56774193548387</c:v>
                </c:pt>
                <c:pt idx="647">
                  <c:v>11.567741935483872</c:v>
                </c:pt>
                <c:pt idx="648">
                  <c:v>11.567741935483872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39.567741935483873</c:v>
                </c:pt>
                <c:pt idx="654">
                  <c:v>11.567741935483872</c:v>
                </c:pt>
                <c:pt idx="655">
                  <c:v>18.56774193548387</c:v>
                </c:pt>
                <c:pt idx="656">
                  <c:v>0</c:v>
                </c:pt>
                <c:pt idx="657">
                  <c:v>0</c:v>
                </c:pt>
                <c:pt idx="658">
                  <c:v>11.567741935483872</c:v>
                </c:pt>
                <c:pt idx="659">
                  <c:v>21.56774193548387</c:v>
                </c:pt>
                <c:pt idx="660">
                  <c:v>7.5333333333333332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18.533333333333331</c:v>
                </c:pt>
                <c:pt idx="671">
                  <c:v>0</c:v>
                </c:pt>
                <c:pt idx="672">
                  <c:v>7.5333333333333332</c:v>
                </c:pt>
                <c:pt idx="673">
                  <c:v>0</c:v>
                </c:pt>
                <c:pt idx="674">
                  <c:v>17.533333333333331</c:v>
                </c:pt>
                <c:pt idx="675">
                  <c:v>9.5333333333333332</c:v>
                </c:pt>
                <c:pt idx="676">
                  <c:v>24.533333333333331</c:v>
                </c:pt>
                <c:pt idx="677">
                  <c:v>117.53333333333333</c:v>
                </c:pt>
                <c:pt idx="678">
                  <c:v>25.533333333333331</c:v>
                </c:pt>
                <c:pt idx="679">
                  <c:v>39.533333333333331</c:v>
                </c:pt>
                <c:pt idx="680">
                  <c:v>7.5333333333333332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6.5333333333333332</c:v>
                </c:pt>
                <c:pt idx="685">
                  <c:v>1.5333333333333332</c:v>
                </c:pt>
                <c:pt idx="686">
                  <c:v>7.5333333333333332</c:v>
                </c:pt>
                <c:pt idx="687">
                  <c:v>30.533333333333331</c:v>
                </c:pt>
                <c:pt idx="688">
                  <c:v>27.533333333333331</c:v>
                </c:pt>
                <c:pt idx="689">
                  <c:v>105.53333333333333</c:v>
                </c:pt>
                <c:pt idx="690">
                  <c:v>57</c:v>
                </c:pt>
                <c:pt idx="691">
                  <c:v>57</c:v>
                </c:pt>
                <c:pt idx="692">
                  <c:v>48</c:v>
                </c:pt>
                <c:pt idx="693">
                  <c:v>22</c:v>
                </c:pt>
                <c:pt idx="694">
                  <c:v>82</c:v>
                </c:pt>
                <c:pt idx="695">
                  <c:v>35</c:v>
                </c:pt>
                <c:pt idx="696">
                  <c:v>132</c:v>
                </c:pt>
                <c:pt idx="697">
                  <c:v>117</c:v>
                </c:pt>
                <c:pt idx="698">
                  <c:v>137</c:v>
                </c:pt>
                <c:pt idx="699">
                  <c:v>73</c:v>
                </c:pt>
                <c:pt idx="700">
                  <c:v>70</c:v>
                </c:pt>
                <c:pt idx="701">
                  <c:v>55</c:v>
                </c:pt>
                <c:pt idx="702">
                  <c:v>200</c:v>
                </c:pt>
                <c:pt idx="703">
                  <c:v>244</c:v>
                </c:pt>
                <c:pt idx="704">
                  <c:v>555</c:v>
                </c:pt>
                <c:pt idx="705">
                  <c:v>492</c:v>
                </c:pt>
                <c:pt idx="706">
                  <c:v>363</c:v>
                </c:pt>
                <c:pt idx="707">
                  <c:v>358</c:v>
                </c:pt>
                <c:pt idx="708">
                  <c:v>496</c:v>
                </c:pt>
                <c:pt idx="709">
                  <c:v>357</c:v>
                </c:pt>
                <c:pt idx="710">
                  <c:v>921</c:v>
                </c:pt>
                <c:pt idx="711">
                  <c:v>1578</c:v>
                </c:pt>
                <c:pt idx="712">
                  <c:v>1459</c:v>
                </c:pt>
                <c:pt idx="713">
                  <c:v>762</c:v>
                </c:pt>
                <c:pt idx="714">
                  <c:v>688</c:v>
                </c:pt>
                <c:pt idx="715">
                  <c:v>822</c:v>
                </c:pt>
                <c:pt idx="716">
                  <c:v>982</c:v>
                </c:pt>
                <c:pt idx="717">
                  <c:v>1380</c:v>
                </c:pt>
                <c:pt idx="718">
                  <c:v>2284</c:v>
                </c:pt>
                <c:pt idx="719">
                  <c:v>1953</c:v>
                </c:pt>
                <c:pt idx="720">
                  <c:v>1689</c:v>
                </c:pt>
                <c:pt idx="721">
                  <c:v>934</c:v>
                </c:pt>
                <c:pt idx="722">
                  <c:v>1326</c:v>
                </c:pt>
                <c:pt idx="723">
                  <c:v>845</c:v>
                </c:pt>
                <c:pt idx="724">
                  <c:v>1377</c:v>
                </c:pt>
                <c:pt idx="725">
                  <c:v>2152</c:v>
                </c:pt>
                <c:pt idx="726">
                  <c:v>2047</c:v>
                </c:pt>
                <c:pt idx="727">
                  <c:v>1179</c:v>
                </c:pt>
                <c:pt idx="728">
                  <c:v>1022</c:v>
                </c:pt>
                <c:pt idx="729">
                  <c:v>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13-463D-98AD-9607BEC85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0752224"/>
        <c:axId val="1790757632"/>
      </c:lineChart>
      <c:dateAx>
        <c:axId val="17741805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88480"/>
        <c:crosses val="autoZero"/>
        <c:auto val="1"/>
        <c:lblOffset val="100"/>
        <c:baseTimeUnit val="days"/>
      </c:dateAx>
      <c:valAx>
        <c:axId val="177418848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80576"/>
        <c:crosses val="autoZero"/>
        <c:crossBetween val="between"/>
      </c:valAx>
      <c:valAx>
        <c:axId val="1790757632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0752224"/>
        <c:crosses val="max"/>
        <c:crossBetween val="between"/>
      </c:valAx>
      <c:dateAx>
        <c:axId val="179075222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790757632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ctual vs Predicted-Dail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Model Fit 8.12.21'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odel Fit 8.12.21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 8.12.21'!$B$2:$B$731</c:f>
              <c:numCache>
                <c:formatCode>General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C7-4899-B599-85AF5F000A62}"/>
            </c:ext>
          </c:extLst>
        </c:ser>
        <c:ser>
          <c:idx val="1"/>
          <c:order val="1"/>
          <c:tx>
            <c:strRef>
              <c:f>'Model Fit 8.12.21'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odel Fit 8.12.21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 8.12.21'!$C$2:$C$731</c:f>
              <c:numCache>
                <c:formatCode>General</c:formatCode>
                <c:ptCount val="730"/>
                <c:pt idx="0">
                  <c:v>1341.6879802999999</c:v>
                </c:pt>
                <c:pt idx="1">
                  <c:v>1555.3694556</c:v>
                </c:pt>
                <c:pt idx="2">
                  <c:v>1779.1539719</c:v>
                </c:pt>
                <c:pt idx="3">
                  <c:v>3015.1881631000001</c:v>
                </c:pt>
                <c:pt idx="4">
                  <c:v>3672.7723491000002</c:v>
                </c:pt>
                <c:pt idx="5">
                  <c:v>3514.1295076000001</c:v>
                </c:pt>
                <c:pt idx="6">
                  <c:v>2625.1859583999999</c:v>
                </c:pt>
                <c:pt idx="7">
                  <c:v>2798.3283787999999</c:v>
                </c:pt>
                <c:pt idx="8">
                  <c:v>2862.1553327000001</c:v>
                </c:pt>
                <c:pt idx="9">
                  <c:v>2839.1844486</c:v>
                </c:pt>
                <c:pt idx="10">
                  <c:v>3564.7133285999998</c:v>
                </c:pt>
                <c:pt idx="11">
                  <c:v>3905.0569141999999</c:v>
                </c:pt>
                <c:pt idx="12">
                  <c:v>3371.0827405</c:v>
                </c:pt>
                <c:pt idx="13">
                  <c:v>2103.5426848000002</c:v>
                </c:pt>
                <c:pt idx="14">
                  <c:v>1999.032524</c:v>
                </c:pt>
                <c:pt idx="15">
                  <c:v>1918.7377675</c:v>
                </c:pt>
                <c:pt idx="16">
                  <c:v>1849.7913354</c:v>
                </c:pt>
                <c:pt idx="17">
                  <c:v>2749.5717095</c:v>
                </c:pt>
                <c:pt idx="18">
                  <c:v>3206.7034620999998</c:v>
                </c:pt>
                <c:pt idx="19">
                  <c:v>2684.9814098000002</c:v>
                </c:pt>
                <c:pt idx="20">
                  <c:v>1707.7534185</c:v>
                </c:pt>
                <c:pt idx="21">
                  <c:v>1652.3444618000001</c:v>
                </c:pt>
                <c:pt idx="22">
                  <c:v>1742.2950651000001</c:v>
                </c:pt>
                <c:pt idx="23">
                  <c:v>1977.1161081</c:v>
                </c:pt>
                <c:pt idx="24">
                  <c:v>3256.0391316999999</c:v>
                </c:pt>
                <c:pt idx="25">
                  <c:v>4149.4084210000001</c:v>
                </c:pt>
                <c:pt idx="26">
                  <c:v>3743.7030970999999</c:v>
                </c:pt>
                <c:pt idx="27">
                  <c:v>2331.726498</c:v>
                </c:pt>
                <c:pt idx="28">
                  <c:v>2329.0207587</c:v>
                </c:pt>
                <c:pt idx="29">
                  <c:v>2407.4135876999999</c:v>
                </c:pt>
                <c:pt idx="30">
                  <c:v>2456.0338698999999</c:v>
                </c:pt>
                <c:pt idx="31">
                  <c:v>3634.2929269000001</c:v>
                </c:pt>
                <c:pt idx="32">
                  <c:v>4519.8059014999999</c:v>
                </c:pt>
                <c:pt idx="33">
                  <c:v>3966.9190173000002</c:v>
                </c:pt>
                <c:pt idx="34">
                  <c:v>2287.2110950000001</c:v>
                </c:pt>
                <c:pt idx="35">
                  <c:v>2421.1195846999999</c:v>
                </c:pt>
                <c:pt idx="36">
                  <c:v>2447.7377031999999</c:v>
                </c:pt>
                <c:pt idx="37">
                  <c:v>2483.1437922</c:v>
                </c:pt>
                <c:pt idx="38">
                  <c:v>3922.1267524999998</c:v>
                </c:pt>
                <c:pt idx="39">
                  <c:v>4889.5867896</c:v>
                </c:pt>
                <c:pt idx="40">
                  <c:v>4341.3857171999998</c:v>
                </c:pt>
                <c:pt idx="41">
                  <c:v>2464.1940725999998</c:v>
                </c:pt>
                <c:pt idx="42">
                  <c:v>2637.6330916000002</c:v>
                </c:pt>
                <c:pt idx="43">
                  <c:v>2843.8258987999998</c:v>
                </c:pt>
                <c:pt idx="44">
                  <c:v>3242.2192838000001</c:v>
                </c:pt>
                <c:pt idx="45">
                  <c:v>4202.1130150999998</c:v>
                </c:pt>
                <c:pt idx="46">
                  <c:v>5380.3947933999998</c:v>
                </c:pt>
                <c:pt idx="47">
                  <c:v>4738.3376316000003</c:v>
                </c:pt>
                <c:pt idx="48">
                  <c:v>2889.6022220999998</c:v>
                </c:pt>
                <c:pt idx="49">
                  <c:v>2927.6710148000002</c:v>
                </c:pt>
                <c:pt idx="50">
                  <c:v>3088.7724714999999</c:v>
                </c:pt>
                <c:pt idx="51">
                  <c:v>3195.4595605999998</c:v>
                </c:pt>
                <c:pt idx="52">
                  <c:v>4602.6531709999999</c:v>
                </c:pt>
                <c:pt idx="53">
                  <c:v>5740.9877391999999</c:v>
                </c:pt>
                <c:pt idx="54">
                  <c:v>5038.4028601999999</c:v>
                </c:pt>
                <c:pt idx="55">
                  <c:v>3080.0017462999999</c:v>
                </c:pt>
                <c:pt idx="56">
                  <c:v>3203.7165209</c:v>
                </c:pt>
                <c:pt idx="57">
                  <c:v>3430.9197941000002</c:v>
                </c:pt>
                <c:pt idx="58">
                  <c:v>3774.8974797999999</c:v>
                </c:pt>
                <c:pt idx="59">
                  <c:v>5490.4338000999996</c:v>
                </c:pt>
                <c:pt idx="60">
                  <c:v>6939.6552764999997</c:v>
                </c:pt>
                <c:pt idx="61">
                  <c:v>6427.9269002999999</c:v>
                </c:pt>
                <c:pt idx="62">
                  <c:v>3825.5749974</c:v>
                </c:pt>
                <c:pt idx="63">
                  <c:v>3713.4291939999998</c:v>
                </c:pt>
                <c:pt idx="64">
                  <c:v>4044.3693625000001</c:v>
                </c:pt>
                <c:pt idx="65">
                  <c:v>4167.7115451999998</c:v>
                </c:pt>
                <c:pt idx="66">
                  <c:v>5900.4946263000002</c:v>
                </c:pt>
                <c:pt idx="67">
                  <c:v>7400.8224426999996</c:v>
                </c:pt>
                <c:pt idx="68">
                  <c:v>6658.9714537999998</c:v>
                </c:pt>
                <c:pt idx="69">
                  <c:v>3754.7506662000001</c:v>
                </c:pt>
                <c:pt idx="70">
                  <c:v>3839.6465475</c:v>
                </c:pt>
                <c:pt idx="71">
                  <c:v>3944.0886734000001</c:v>
                </c:pt>
                <c:pt idx="72">
                  <c:v>4118.7927443999997</c:v>
                </c:pt>
                <c:pt idx="73">
                  <c:v>5806.4553706999995</c:v>
                </c:pt>
                <c:pt idx="74">
                  <c:v>7547.5617555999997</c:v>
                </c:pt>
                <c:pt idx="75">
                  <c:v>7792.0226516000002</c:v>
                </c:pt>
                <c:pt idx="76">
                  <c:v>5813.9553925999999</c:v>
                </c:pt>
                <c:pt idx="77">
                  <c:v>4001.5751482999999</c:v>
                </c:pt>
                <c:pt idx="78">
                  <c:v>3906.3416655000001</c:v>
                </c:pt>
                <c:pt idx="79">
                  <c:v>4329.2528736000004</c:v>
                </c:pt>
                <c:pt idx="80">
                  <c:v>6553.9281358999997</c:v>
                </c:pt>
                <c:pt idx="81">
                  <c:v>9083.5746526999992</c:v>
                </c:pt>
                <c:pt idx="82">
                  <c:v>7965.2600647999998</c:v>
                </c:pt>
                <c:pt idx="83">
                  <c:v>4550.8795559</c:v>
                </c:pt>
                <c:pt idx="84">
                  <c:v>4602.1418031000003</c:v>
                </c:pt>
                <c:pt idx="85">
                  <c:v>4722.3759000999999</c:v>
                </c:pt>
                <c:pt idx="86">
                  <c:v>4917.3263101000002</c:v>
                </c:pt>
                <c:pt idx="87">
                  <c:v>6789.1547030000002</c:v>
                </c:pt>
                <c:pt idx="88">
                  <c:v>9467.5434617999999</c:v>
                </c:pt>
                <c:pt idx="89">
                  <c:v>8137.7446461</c:v>
                </c:pt>
                <c:pt idx="90">
                  <c:v>4320.8500021</c:v>
                </c:pt>
                <c:pt idx="91">
                  <c:v>4360.0937970000004</c:v>
                </c:pt>
                <c:pt idx="92">
                  <c:v>4681.8024673999998</c:v>
                </c:pt>
                <c:pt idx="93">
                  <c:v>5092.8651147999999</c:v>
                </c:pt>
                <c:pt idx="94">
                  <c:v>7450.4966827999997</c:v>
                </c:pt>
                <c:pt idx="95">
                  <c:v>10278.062511599999</c:v>
                </c:pt>
                <c:pt idx="96">
                  <c:v>8605.5288770999996</c:v>
                </c:pt>
                <c:pt idx="97">
                  <c:v>4465.1533897999998</c:v>
                </c:pt>
                <c:pt idx="98">
                  <c:v>4564.3160682999996</c:v>
                </c:pt>
                <c:pt idx="99">
                  <c:v>4569.1042662</c:v>
                </c:pt>
                <c:pt idx="100">
                  <c:v>5044.9329201</c:v>
                </c:pt>
                <c:pt idx="101">
                  <c:v>6731.7960030000004</c:v>
                </c:pt>
                <c:pt idx="102">
                  <c:v>9476.0069879000002</c:v>
                </c:pt>
                <c:pt idx="103">
                  <c:v>7606.0009521000002</c:v>
                </c:pt>
                <c:pt idx="104">
                  <c:v>4181.5134458000002</c:v>
                </c:pt>
                <c:pt idx="105">
                  <c:v>4884.3340461999996</c:v>
                </c:pt>
                <c:pt idx="106">
                  <c:v>4528.8391725000001</c:v>
                </c:pt>
                <c:pt idx="107">
                  <c:v>4846.6399303999997</c:v>
                </c:pt>
                <c:pt idx="108">
                  <c:v>7114.4617313999997</c:v>
                </c:pt>
                <c:pt idx="109">
                  <c:v>9860.5170073000008</c:v>
                </c:pt>
                <c:pt idx="110">
                  <c:v>8257.9389566000009</c:v>
                </c:pt>
                <c:pt idx="111">
                  <c:v>4360.3346535999999</c:v>
                </c:pt>
                <c:pt idx="112">
                  <c:v>4740.7634164000001</c:v>
                </c:pt>
                <c:pt idx="113">
                  <c:v>4531.6918206999999</c:v>
                </c:pt>
                <c:pt idx="114">
                  <c:v>4803.1249398</c:v>
                </c:pt>
                <c:pt idx="115">
                  <c:v>6565.9626878999998</c:v>
                </c:pt>
                <c:pt idx="116">
                  <c:v>9128.2509484000002</c:v>
                </c:pt>
                <c:pt idx="117">
                  <c:v>7486.2332097999997</c:v>
                </c:pt>
                <c:pt idx="118">
                  <c:v>3095.8261084999999</c:v>
                </c:pt>
                <c:pt idx="119">
                  <c:v>3016.614071</c:v>
                </c:pt>
                <c:pt idx="120">
                  <c:v>2939.2634689000001</c:v>
                </c:pt>
                <c:pt idx="121">
                  <c:v>3138.2950056999998</c:v>
                </c:pt>
                <c:pt idx="122">
                  <c:v>5239.5218445</c:v>
                </c:pt>
                <c:pt idx="123">
                  <c:v>7299.5712395</c:v>
                </c:pt>
                <c:pt idx="124">
                  <c:v>5018.3363195000002</c:v>
                </c:pt>
                <c:pt idx="125">
                  <c:v>2375.3663172000001</c:v>
                </c:pt>
                <c:pt idx="126">
                  <c:v>2449.7801423000001</c:v>
                </c:pt>
                <c:pt idx="127">
                  <c:v>2617.2636447</c:v>
                </c:pt>
                <c:pt idx="128">
                  <c:v>2702.2657178999998</c:v>
                </c:pt>
                <c:pt idx="129">
                  <c:v>4354.4362295000001</c:v>
                </c:pt>
                <c:pt idx="130">
                  <c:v>5991.1455405999995</c:v>
                </c:pt>
                <c:pt idx="131">
                  <c:v>5066.6060579000005</c:v>
                </c:pt>
                <c:pt idx="132">
                  <c:v>2594.9071881</c:v>
                </c:pt>
                <c:pt idx="133">
                  <c:v>2549.4420991000002</c:v>
                </c:pt>
                <c:pt idx="134">
                  <c:v>2710.0016249999999</c:v>
                </c:pt>
                <c:pt idx="135">
                  <c:v>2950.9214148000001</c:v>
                </c:pt>
                <c:pt idx="136">
                  <c:v>4443.4723491000004</c:v>
                </c:pt>
                <c:pt idx="137">
                  <c:v>6404.2990115000002</c:v>
                </c:pt>
                <c:pt idx="138">
                  <c:v>5073.8076523</c:v>
                </c:pt>
                <c:pt idx="139">
                  <c:v>2853.8421837000001</c:v>
                </c:pt>
                <c:pt idx="140">
                  <c:v>3359.1528566000002</c:v>
                </c:pt>
                <c:pt idx="141">
                  <c:v>3738.4704219999999</c:v>
                </c:pt>
                <c:pt idx="142">
                  <c:v>4788.1918653000002</c:v>
                </c:pt>
                <c:pt idx="143">
                  <c:v>7096.6174963000003</c:v>
                </c:pt>
                <c:pt idx="144">
                  <c:v>10719.582124299999</c:v>
                </c:pt>
                <c:pt idx="145">
                  <c:v>7812.7388381000001</c:v>
                </c:pt>
                <c:pt idx="146">
                  <c:v>3241.5639471</c:v>
                </c:pt>
                <c:pt idx="147">
                  <c:v>3138.1754000000001</c:v>
                </c:pt>
                <c:pt idx="148">
                  <c:v>2838.7707466000002</c:v>
                </c:pt>
                <c:pt idx="149">
                  <c:v>2894.0664467000001</c:v>
                </c:pt>
                <c:pt idx="150">
                  <c:v>4707.4255204999999</c:v>
                </c:pt>
                <c:pt idx="151">
                  <c:v>7103.3623396000003</c:v>
                </c:pt>
                <c:pt idx="152">
                  <c:v>5492.0273073999997</c:v>
                </c:pt>
                <c:pt idx="153">
                  <c:v>2421.1037285000002</c:v>
                </c:pt>
                <c:pt idx="154">
                  <c:v>2287.0318812</c:v>
                </c:pt>
                <c:pt idx="155">
                  <c:v>2670.8076001999998</c:v>
                </c:pt>
                <c:pt idx="156">
                  <c:v>2679.9034092000002</c:v>
                </c:pt>
                <c:pt idx="157">
                  <c:v>4383.1494265000001</c:v>
                </c:pt>
                <c:pt idx="158">
                  <c:v>6165.8867714999997</c:v>
                </c:pt>
                <c:pt idx="159">
                  <c:v>5169.9954866999997</c:v>
                </c:pt>
                <c:pt idx="160">
                  <c:v>2238.6013724999998</c:v>
                </c:pt>
                <c:pt idx="161">
                  <c:v>2271.6000362</c:v>
                </c:pt>
                <c:pt idx="162">
                  <c:v>2372.0997559000002</c:v>
                </c:pt>
                <c:pt idx="163">
                  <c:v>2523.5807983999998</c:v>
                </c:pt>
                <c:pt idx="164">
                  <c:v>4325.1794017000002</c:v>
                </c:pt>
                <c:pt idx="165">
                  <c:v>6406.0133685999999</c:v>
                </c:pt>
                <c:pt idx="166">
                  <c:v>5262.8947787999996</c:v>
                </c:pt>
                <c:pt idx="167">
                  <c:v>2652.8798049000002</c:v>
                </c:pt>
                <c:pt idx="168">
                  <c:v>2918.8629184000001</c:v>
                </c:pt>
                <c:pt idx="169">
                  <c:v>3175.2504216000002</c:v>
                </c:pt>
                <c:pt idx="170">
                  <c:v>3360.9466797999999</c:v>
                </c:pt>
                <c:pt idx="171">
                  <c:v>5533.3263393999996</c:v>
                </c:pt>
                <c:pt idx="172">
                  <c:v>8008.5748746999998</c:v>
                </c:pt>
                <c:pt idx="173">
                  <c:v>6970.5275952000002</c:v>
                </c:pt>
                <c:pt idx="174">
                  <c:v>3220.428758</c:v>
                </c:pt>
                <c:pt idx="175">
                  <c:v>3154.1192854999999</c:v>
                </c:pt>
                <c:pt idx="176">
                  <c:v>3417.0768791</c:v>
                </c:pt>
                <c:pt idx="177">
                  <c:v>4032.7678968</c:v>
                </c:pt>
                <c:pt idx="178">
                  <c:v>6268.8456176999998</c:v>
                </c:pt>
                <c:pt idx="179">
                  <c:v>8451.5236375000004</c:v>
                </c:pt>
                <c:pt idx="180">
                  <c:v>7367.7865193999996</c:v>
                </c:pt>
                <c:pt idx="181">
                  <c:v>3588.5445453000002</c:v>
                </c:pt>
                <c:pt idx="182">
                  <c:v>4440.1717804</c:v>
                </c:pt>
                <c:pt idx="183">
                  <c:v>4799.0131659999997</c:v>
                </c:pt>
                <c:pt idx="184">
                  <c:v>5995.7966280000001</c:v>
                </c:pt>
                <c:pt idx="185">
                  <c:v>8642.2211021999992</c:v>
                </c:pt>
                <c:pt idx="186">
                  <c:v>12138.5683156</c:v>
                </c:pt>
                <c:pt idx="187">
                  <c:v>10459.163304</c:v>
                </c:pt>
                <c:pt idx="188">
                  <c:v>4764.6755804000004</c:v>
                </c:pt>
                <c:pt idx="189">
                  <c:v>4769.2382725999996</c:v>
                </c:pt>
                <c:pt idx="190">
                  <c:v>5256.5232299999998</c:v>
                </c:pt>
                <c:pt idx="191">
                  <c:v>6033.1559374999997</c:v>
                </c:pt>
                <c:pt idx="192">
                  <c:v>8728.6776988000001</c:v>
                </c:pt>
                <c:pt idx="193">
                  <c:v>10538.475697</c:v>
                </c:pt>
                <c:pt idx="194">
                  <c:v>8650.6308685000004</c:v>
                </c:pt>
                <c:pt idx="195">
                  <c:v>5313.7641487000001</c:v>
                </c:pt>
                <c:pt idx="196">
                  <c:v>6098.9311619999999</c:v>
                </c:pt>
                <c:pt idx="197">
                  <c:v>7919.9151856999997</c:v>
                </c:pt>
                <c:pt idx="198">
                  <c:v>6377.4257578999996</c:v>
                </c:pt>
                <c:pt idx="199">
                  <c:v>6066.5588263</c:v>
                </c:pt>
                <c:pt idx="200">
                  <c:v>7001.2717916000001</c:v>
                </c:pt>
                <c:pt idx="201">
                  <c:v>6495.5047531</c:v>
                </c:pt>
                <c:pt idx="202">
                  <c:v>4252.7613552000003</c:v>
                </c:pt>
                <c:pt idx="203">
                  <c:v>9720.0926837999996</c:v>
                </c:pt>
                <c:pt idx="204">
                  <c:v>8865.730904</c:v>
                </c:pt>
                <c:pt idx="205">
                  <c:v>4258.9975471999996</c:v>
                </c:pt>
                <c:pt idx="206">
                  <c:v>5849.2100731999999</c:v>
                </c:pt>
                <c:pt idx="207">
                  <c:v>7676.7170276999996</c:v>
                </c:pt>
                <c:pt idx="208">
                  <c:v>6534.1411688999997</c:v>
                </c:pt>
                <c:pt idx="209">
                  <c:v>3480.3506766</c:v>
                </c:pt>
                <c:pt idx="210">
                  <c:v>3135.4608386999998</c:v>
                </c:pt>
                <c:pt idx="211">
                  <c:v>3176.4351984999998</c:v>
                </c:pt>
                <c:pt idx="212">
                  <c:v>3290.2856058000002</c:v>
                </c:pt>
                <c:pt idx="213">
                  <c:v>4756.1270052999998</c:v>
                </c:pt>
                <c:pt idx="214">
                  <c:v>6925.9888530999997</c:v>
                </c:pt>
                <c:pt idx="215">
                  <c:v>5585.1672528999998</c:v>
                </c:pt>
                <c:pt idx="216">
                  <c:v>2918.9873641999998</c:v>
                </c:pt>
                <c:pt idx="217">
                  <c:v>2955.3177584</c:v>
                </c:pt>
                <c:pt idx="218">
                  <c:v>2872.2598828999999</c:v>
                </c:pt>
                <c:pt idx="219">
                  <c:v>3051.7858388999998</c:v>
                </c:pt>
                <c:pt idx="220">
                  <c:v>4797.3390084000002</c:v>
                </c:pt>
                <c:pt idx="221">
                  <c:v>6621.3009689999999</c:v>
                </c:pt>
                <c:pt idx="222">
                  <c:v>5323.5119138999999</c:v>
                </c:pt>
                <c:pt idx="223">
                  <c:v>2506.5546954000001</c:v>
                </c:pt>
                <c:pt idx="224">
                  <c:v>2558.0659500000002</c:v>
                </c:pt>
                <c:pt idx="225">
                  <c:v>2741.9266459999999</c:v>
                </c:pt>
                <c:pt idx="226">
                  <c:v>2944.0042890999998</c:v>
                </c:pt>
                <c:pt idx="227">
                  <c:v>4723.6989667999997</c:v>
                </c:pt>
                <c:pt idx="228">
                  <c:v>6998.2879888999996</c:v>
                </c:pt>
                <c:pt idx="229">
                  <c:v>5999.5571244000002</c:v>
                </c:pt>
                <c:pt idx="230">
                  <c:v>2847.9703917000002</c:v>
                </c:pt>
                <c:pt idx="231">
                  <c:v>2855.1209527999999</c:v>
                </c:pt>
                <c:pt idx="232">
                  <c:v>3001.3462848999998</c:v>
                </c:pt>
                <c:pt idx="233">
                  <c:v>3057.5034310000001</c:v>
                </c:pt>
                <c:pt idx="234">
                  <c:v>4852.7118769999997</c:v>
                </c:pt>
                <c:pt idx="235">
                  <c:v>7097.6238783999997</c:v>
                </c:pt>
                <c:pt idx="236">
                  <c:v>5896.8657128000004</c:v>
                </c:pt>
                <c:pt idx="237">
                  <c:v>2876.0567620000002</c:v>
                </c:pt>
                <c:pt idx="238">
                  <c:v>2745.0126316000001</c:v>
                </c:pt>
                <c:pt idx="239">
                  <c:v>2823.9918668</c:v>
                </c:pt>
                <c:pt idx="240">
                  <c:v>2963.6308991999999</c:v>
                </c:pt>
                <c:pt idx="241">
                  <c:v>4629.2819466000001</c:v>
                </c:pt>
                <c:pt idx="242">
                  <c:v>6924.5361388000001</c:v>
                </c:pt>
                <c:pt idx="243">
                  <c:v>6154.3154545999996</c:v>
                </c:pt>
                <c:pt idx="244">
                  <c:v>2817.4394327</c:v>
                </c:pt>
                <c:pt idx="245">
                  <c:v>2820.5248981999998</c:v>
                </c:pt>
                <c:pt idx="246">
                  <c:v>3056.5068532</c:v>
                </c:pt>
                <c:pt idx="247">
                  <c:v>3345.5046237000001</c:v>
                </c:pt>
                <c:pt idx="248">
                  <c:v>5641.2931400999996</c:v>
                </c:pt>
                <c:pt idx="249">
                  <c:v>8608.8912479999999</c:v>
                </c:pt>
                <c:pt idx="250">
                  <c:v>7287.3343324999996</c:v>
                </c:pt>
                <c:pt idx="251">
                  <c:v>3222.1953186999999</c:v>
                </c:pt>
                <c:pt idx="252">
                  <c:v>2948.2984673000001</c:v>
                </c:pt>
                <c:pt idx="253">
                  <c:v>2799.3698909</c:v>
                </c:pt>
                <c:pt idx="254">
                  <c:v>3127.0014987</c:v>
                </c:pt>
                <c:pt idx="255">
                  <c:v>4753.2626034000004</c:v>
                </c:pt>
                <c:pt idx="256">
                  <c:v>7257.785097</c:v>
                </c:pt>
                <c:pt idx="257">
                  <c:v>6036.1001938999998</c:v>
                </c:pt>
                <c:pt idx="258">
                  <c:v>2879.8621773999998</c:v>
                </c:pt>
                <c:pt idx="259">
                  <c:v>2944.3998381000001</c:v>
                </c:pt>
                <c:pt idx="260">
                  <c:v>3213.7104746999998</c:v>
                </c:pt>
                <c:pt idx="261">
                  <c:v>3582.3259186999999</c:v>
                </c:pt>
                <c:pt idx="262">
                  <c:v>5493.7235423000002</c:v>
                </c:pt>
                <c:pt idx="263">
                  <c:v>8108.3283128000003</c:v>
                </c:pt>
                <c:pt idx="264">
                  <c:v>6723.6867184000002</c:v>
                </c:pt>
                <c:pt idx="265">
                  <c:v>3552.7630011000001</c:v>
                </c:pt>
                <c:pt idx="266">
                  <c:v>3505.8591977000001</c:v>
                </c:pt>
                <c:pt idx="267">
                  <c:v>3684.9215033999999</c:v>
                </c:pt>
                <c:pt idx="268">
                  <c:v>4040.1203184000001</c:v>
                </c:pt>
                <c:pt idx="269">
                  <c:v>5586.9288267000002</c:v>
                </c:pt>
                <c:pt idx="270">
                  <c:v>7668.1385503000001</c:v>
                </c:pt>
                <c:pt idx="271">
                  <c:v>6366.3776733000004</c:v>
                </c:pt>
                <c:pt idx="272">
                  <c:v>3469.5555536000002</c:v>
                </c:pt>
                <c:pt idx="273">
                  <c:v>3303.1739349999998</c:v>
                </c:pt>
                <c:pt idx="274">
                  <c:v>3370.7831657000002</c:v>
                </c:pt>
                <c:pt idx="275">
                  <c:v>3297.5293009000002</c:v>
                </c:pt>
                <c:pt idx="276">
                  <c:v>4806.6883761999998</c:v>
                </c:pt>
                <c:pt idx="277">
                  <c:v>6229.9935973000001</c:v>
                </c:pt>
                <c:pt idx="278">
                  <c:v>5060.1576415</c:v>
                </c:pt>
                <c:pt idx="279">
                  <c:v>2742.2021266000002</c:v>
                </c:pt>
                <c:pt idx="280">
                  <c:v>2414.0470024000001</c:v>
                </c:pt>
                <c:pt idx="281">
                  <c:v>2272.4980885</c:v>
                </c:pt>
                <c:pt idx="282">
                  <c:v>2171.3702409000002</c:v>
                </c:pt>
                <c:pt idx="283">
                  <c:v>2149.1082603</c:v>
                </c:pt>
                <c:pt idx="284">
                  <c:v>1864.7515185</c:v>
                </c:pt>
                <c:pt idx="285">
                  <c:v>1562.1366516000001</c:v>
                </c:pt>
                <c:pt idx="286">
                  <c:v>1287.6425836999999</c:v>
                </c:pt>
                <c:pt idx="287">
                  <c:v>977.46029320000002</c:v>
                </c:pt>
                <c:pt idx="288">
                  <c:v>862.39391130000001</c:v>
                </c:pt>
                <c:pt idx="289">
                  <c:v>773.6738067</c:v>
                </c:pt>
                <c:pt idx="290">
                  <c:v>769.5342776</c:v>
                </c:pt>
                <c:pt idx="291">
                  <c:v>747.838885</c:v>
                </c:pt>
                <c:pt idx="292">
                  <c:v>644.25968409999996</c:v>
                </c:pt>
                <c:pt idx="293">
                  <c:v>615.23880970000005</c:v>
                </c:pt>
                <c:pt idx="294">
                  <c:v>524.68695400000001</c:v>
                </c:pt>
                <c:pt idx="295">
                  <c:v>519.90826630000004</c:v>
                </c:pt>
                <c:pt idx="296">
                  <c:v>512.012789</c:v>
                </c:pt>
                <c:pt idx="297">
                  <c:v>491.28767770000002</c:v>
                </c:pt>
                <c:pt idx="298">
                  <c:v>497.97162709999998</c:v>
                </c:pt>
                <c:pt idx="299">
                  <c:v>480.78097389999999</c:v>
                </c:pt>
                <c:pt idx="300">
                  <c:v>459.8764425</c:v>
                </c:pt>
                <c:pt idx="301">
                  <c:v>447.33852009999998</c:v>
                </c:pt>
                <c:pt idx="302">
                  <c:v>452.71156480000002</c:v>
                </c:pt>
                <c:pt idx="303">
                  <c:v>438.58570609999998</c:v>
                </c:pt>
                <c:pt idx="304">
                  <c:v>425.18607259999999</c:v>
                </c:pt>
                <c:pt idx="305">
                  <c:v>468.33725220000002</c:v>
                </c:pt>
                <c:pt idx="306">
                  <c:v>447.09863739999997</c:v>
                </c:pt>
                <c:pt idx="307">
                  <c:v>401.10271970000002</c:v>
                </c:pt>
                <c:pt idx="308">
                  <c:v>463.10848449999997</c:v>
                </c:pt>
                <c:pt idx="309">
                  <c:v>472.41914869999999</c:v>
                </c:pt>
                <c:pt idx="310">
                  <c:v>470.61212549999999</c:v>
                </c:pt>
                <c:pt idx="311">
                  <c:v>454.93687849999998</c:v>
                </c:pt>
                <c:pt idx="312">
                  <c:v>539.78921949999994</c:v>
                </c:pt>
                <c:pt idx="313">
                  <c:v>459.14537159999998</c:v>
                </c:pt>
                <c:pt idx="314">
                  <c:v>458.52177349999999</c:v>
                </c:pt>
                <c:pt idx="315">
                  <c:v>462.5467372</c:v>
                </c:pt>
                <c:pt idx="316">
                  <c:v>496.75922100000003</c:v>
                </c:pt>
                <c:pt idx="317">
                  <c:v>472.7610214</c:v>
                </c:pt>
                <c:pt idx="318">
                  <c:v>462.91227659999998</c:v>
                </c:pt>
                <c:pt idx="319">
                  <c:v>517.48535800000002</c:v>
                </c:pt>
                <c:pt idx="320">
                  <c:v>504.37839530000002</c:v>
                </c:pt>
                <c:pt idx="321">
                  <c:v>497.12265530000002</c:v>
                </c:pt>
                <c:pt idx="322">
                  <c:v>507.08697519999998</c:v>
                </c:pt>
                <c:pt idx="323">
                  <c:v>552.18666489999998</c:v>
                </c:pt>
                <c:pt idx="324">
                  <c:v>537.10373600000003</c:v>
                </c:pt>
                <c:pt idx="325">
                  <c:v>588.87971879999998</c:v>
                </c:pt>
                <c:pt idx="326">
                  <c:v>615.1880281</c:v>
                </c:pt>
                <c:pt idx="327">
                  <c:v>607.32851719999996</c:v>
                </c:pt>
                <c:pt idx="328">
                  <c:v>516.14081099999999</c:v>
                </c:pt>
                <c:pt idx="329">
                  <c:v>514.5013639</c:v>
                </c:pt>
                <c:pt idx="330">
                  <c:v>538.50243479999995</c:v>
                </c:pt>
                <c:pt idx="331">
                  <c:v>537.43274150000002</c:v>
                </c:pt>
                <c:pt idx="332">
                  <c:v>513.43448439999997</c:v>
                </c:pt>
                <c:pt idx="333">
                  <c:v>563.0997327</c:v>
                </c:pt>
                <c:pt idx="334">
                  <c:v>575.87586469999997</c:v>
                </c:pt>
                <c:pt idx="335">
                  <c:v>554.10416520000001</c:v>
                </c:pt>
                <c:pt idx="336">
                  <c:v>551.60740539999995</c:v>
                </c:pt>
                <c:pt idx="337">
                  <c:v>566.86099479999996</c:v>
                </c:pt>
                <c:pt idx="338">
                  <c:v>562.38240299999995</c:v>
                </c:pt>
                <c:pt idx="339">
                  <c:v>559.0000311</c:v>
                </c:pt>
                <c:pt idx="340">
                  <c:v>593.71873619999997</c:v>
                </c:pt>
                <c:pt idx="341">
                  <c:v>585.90462330000003</c:v>
                </c:pt>
                <c:pt idx="342">
                  <c:v>545.4404869</c:v>
                </c:pt>
                <c:pt idx="343">
                  <c:v>546.67621440000005</c:v>
                </c:pt>
                <c:pt idx="344">
                  <c:v>503.73150390000001</c:v>
                </c:pt>
                <c:pt idx="345">
                  <c:v>521.33285160000003</c:v>
                </c:pt>
                <c:pt idx="346">
                  <c:v>501.52314469999999</c:v>
                </c:pt>
                <c:pt idx="347">
                  <c:v>554.48755489999996</c:v>
                </c:pt>
                <c:pt idx="348">
                  <c:v>432.4292858</c:v>
                </c:pt>
                <c:pt idx="349">
                  <c:v>419.23038170000001</c:v>
                </c:pt>
                <c:pt idx="350">
                  <c:v>509.83501310000003</c:v>
                </c:pt>
                <c:pt idx="351">
                  <c:v>522.52137540000001</c:v>
                </c:pt>
                <c:pt idx="352">
                  <c:v>599.09208349999994</c:v>
                </c:pt>
                <c:pt idx="353">
                  <c:v>570.20814340000004</c:v>
                </c:pt>
                <c:pt idx="354">
                  <c:v>606.03574760000004</c:v>
                </c:pt>
                <c:pt idx="355">
                  <c:v>590.35847839999997</c:v>
                </c:pt>
                <c:pt idx="356">
                  <c:v>535.78193759999999</c:v>
                </c:pt>
                <c:pt idx="357">
                  <c:v>579.86033329999998</c:v>
                </c:pt>
                <c:pt idx="358">
                  <c:v>609.75765639999997</c:v>
                </c:pt>
                <c:pt idx="359">
                  <c:v>1084.999497</c:v>
                </c:pt>
                <c:pt idx="360">
                  <c:v>650.00513479999995</c:v>
                </c:pt>
                <c:pt idx="361">
                  <c:v>850.88023769999995</c:v>
                </c:pt>
                <c:pt idx="362">
                  <c:v>732.48026879999998</c:v>
                </c:pt>
                <c:pt idx="363">
                  <c:v>657.74826840000003</c:v>
                </c:pt>
                <c:pt idx="364">
                  <c:v>688.36333920000004</c:v>
                </c:pt>
                <c:pt idx="365">
                  <c:v>719.76211780000006</c:v>
                </c:pt>
                <c:pt idx="366">
                  <c:v>886.26543579999998</c:v>
                </c:pt>
                <c:pt idx="367">
                  <c:v>931.63723330000005</c:v>
                </c:pt>
                <c:pt idx="368">
                  <c:v>915.03382209999995</c:v>
                </c:pt>
                <c:pt idx="369">
                  <c:v>811.49739009999996</c:v>
                </c:pt>
                <c:pt idx="370">
                  <c:v>878.72495309999999</c:v>
                </c:pt>
                <c:pt idx="371">
                  <c:v>808.68574330000001</c:v>
                </c:pt>
                <c:pt idx="372">
                  <c:v>826.16372660000002</c:v>
                </c:pt>
                <c:pt idx="373">
                  <c:v>1069.4314717</c:v>
                </c:pt>
                <c:pt idx="374">
                  <c:v>1146.4338696</c:v>
                </c:pt>
                <c:pt idx="375">
                  <c:v>1303.4325228</c:v>
                </c:pt>
                <c:pt idx="376">
                  <c:v>1037.7803401000001</c:v>
                </c:pt>
                <c:pt idx="377">
                  <c:v>899.9693178</c:v>
                </c:pt>
                <c:pt idx="378">
                  <c:v>917.39512479999996</c:v>
                </c:pt>
                <c:pt idx="379">
                  <c:v>936.63076100000001</c:v>
                </c:pt>
                <c:pt idx="380">
                  <c:v>1240.0910405</c:v>
                </c:pt>
                <c:pt idx="381">
                  <c:v>1007.5900283</c:v>
                </c:pt>
                <c:pt idx="382">
                  <c:v>1288.6785471000001</c:v>
                </c:pt>
                <c:pt idx="383">
                  <c:v>1109.8628997000001</c:v>
                </c:pt>
                <c:pt idx="384">
                  <c:v>935.30077019999999</c:v>
                </c:pt>
                <c:pt idx="385">
                  <c:v>941.25807359999999</c:v>
                </c:pt>
                <c:pt idx="386">
                  <c:v>954.72076130000005</c:v>
                </c:pt>
                <c:pt idx="387">
                  <c:v>1191.5759423</c:v>
                </c:pt>
                <c:pt idx="388">
                  <c:v>1053.5678095999999</c:v>
                </c:pt>
                <c:pt idx="389">
                  <c:v>1345.5542253000001</c:v>
                </c:pt>
                <c:pt idx="390">
                  <c:v>1169.4844877999999</c:v>
                </c:pt>
                <c:pt idx="391">
                  <c:v>1010.2323887</c:v>
                </c:pt>
                <c:pt idx="392">
                  <c:v>987.71562110000002</c:v>
                </c:pt>
                <c:pt idx="393">
                  <c:v>1014.4456183</c:v>
                </c:pt>
                <c:pt idx="394">
                  <c:v>1182.4565425999999</c:v>
                </c:pt>
                <c:pt idx="395">
                  <c:v>2406.4291512999998</c:v>
                </c:pt>
                <c:pt idx="396">
                  <c:v>2753.9191707</c:v>
                </c:pt>
                <c:pt idx="397">
                  <c:v>2236.4097996999999</c:v>
                </c:pt>
                <c:pt idx="398">
                  <c:v>1339.4056891</c:v>
                </c:pt>
                <c:pt idx="399">
                  <c:v>1027.5951941999999</c:v>
                </c:pt>
                <c:pt idx="400">
                  <c:v>1035.9509959</c:v>
                </c:pt>
                <c:pt idx="401">
                  <c:v>1236.5524342000001</c:v>
                </c:pt>
                <c:pt idx="402">
                  <c:v>2288.4678364000001</c:v>
                </c:pt>
                <c:pt idx="403">
                  <c:v>3184.8868075</c:v>
                </c:pt>
                <c:pt idx="404">
                  <c:v>2614.4648997999998</c:v>
                </c:pt>
                <c:pt idx="405">
                  <c:v>1265.4640641999999</c:v>
                </c:pt>
                <c:pt idx="406">
                  <c:v>1282.8036119000001</c:v>
                </c:pt>
                <c:pt idx="407">
                  <c:v>1333.2232219</c:v>
                </c:pt>
                <c:pt idx="408">
                  <c:v>1564.5274036000001</c:v>
                </c:pt>
                <c:pt idx="409">
                  <c:v>3008.0075391</c:v>
                </c:pt>
                <c:pt idx="410">
                  <c:v>3705.5049546999999</c:v>
                </c:pt>
                <c:pt idx="411">
                  <c:v>3039.7641981000002</c:v>
                </c:pt>
                <c:pt idx="412">
                  <c:v>1547.3826802999999</c:v>
                </c:pt>
                <c:pt idx="413">
                  <c:v>1694.3875020999999</c:v>
                </c:pt>
                <c:pt idx="414">
                  <c:v>1769.6701124000001</c:v>
                </c:pt>
                <c:pt idx="415">
                  <c:v>2143.1616746</c:v>
                </c:pt>
                <c:pt idx="416">
                  <c:v>3580.9694294999999</c:v>
                </c:pt>
                <c:pt idx="417">
                  <c:v>4729.2452943999997</c:v>
                </c:pt>
                <c:pt idx="418">
                  <c:v>3902.6431754</c:v>
                </c:pt>
                <c:pt idx="419">
                  <c:v>2158.9280625000001</c:v>
                </c:pt>
                <c:pt idx="420">
                  <c:v>2222.9487001000002</c:v>
                </c:pt>
                <c:pt idx="421">
                  <c:v>2338.9821717</c:v>
                </c:pt>
                <c:pt idx="422">
                  <c:v>2822.7907243999998</c:v>
                </c:pt>
                <c:pt idx="423">
                  <c:v>3801.8970454999999</c:v>
                </c:pt>
                <c:pt idx="424">
                  <c:v>4943.5068380000002</c:v>
                </c:pt>
                <c:pt idx="425">
                  <c:v>4129.6725426000003</c:v>
                </c:pt>
                <c:pt idx="426">
                  <c:v>2350.89509</c:v>
                </c:pt>
                <c:pt idx="427">
                  <c:v>2394.1255388999998</c:v>
                </c:pt>
                <c:pt idx="428">
                  <c:v>2487.4268400000001</c:v>
                </c:pt>
                <c:pt idx="429">
                  <c:v>2679.1223510999998</c:v>
                </c:pt>
                <c:pt idx="430">
                  <c:v>3966.6966017999998</c:v>
                </c:pt>
                <c:pt idx="431">
                  <c:v>4989.7767095999998</c:v>
                </c:pt>
                <c:pt idx="432">
                  <c:v>4150.2586755000002</c:v>
                </c:pt>
                <c:pt idx="433">
                  <c:v>2400.0748718999998</c:v>
                </c:pt>
                <c:pt idx="434">
                  <c:v>2391.5324257000002</c:v>
                </c:pt>
                <c:pt idx="435">
                  <c:v>2593.4507991999999</c:v>
                </c:pt>
                <c:pt idx="436">
                  <c:v>2633.0132073999998</c:v>
                </c:pt>
                <c:pt idx="437">
                  <c:v>4185.5161527</c:v>
                </c:pt>
                <c:pt idx="438">
                  <c:v>5164.0875060999997</c:v>
                </c:pt>
                <c:pt idx="439">
                  <c:v>4333.9544597000004</c:v>
                </c:pt>
                <c:pt idx="440">
                  <c:v>2588.4400722</c:v>
                </c:pt>
                <c:pt idx="441">
                  <c:v>2762.713886</c:v>
                </c:pt>
                <c:pt idx="442">
                  <c:v>2862.4950478000001</c:v>
                </c:pt>
                <c:pt idx="443">
                  <c:v>3010.6693750999998</c:v>
                </c:pt>
                <c:pt idx="444">
                  <c:v>4897.2595647999997</c:v>
                </c:pt>
                <c:pt idx="445">
                  <c:v>6520.5556257999997</c:v>
                </c:pt>
                <c:pt idx="446">
                  <c:v>6029.5468715999996</c:v>
                </c:pt>
                <c:pt idx="447">
                  <c:v>4196.9214689999999</c:v>
                </c:pt>
                <c:pt idx="448">
                  <c:v>2757.8908329999999</c:v>
                </c:pt>
                <c:pt idx="449">
                  <c:v>2777.6730243000002</c:v>
                </c:pt>
                <c:pt idx="450">
                  <c:v>3012.4038214000002</c:v>
                </c:pt>
                <c:pt idx="451">
                  <c:v>4354.9460804</c:v>
                </c:pt>
                <c:pt idx="452">
                  <c:v>5839.0570202999997</c:v>
                </c:pt>
                <c:pt idx="453">
                  <c:v>4865.4769275999997</c:v>
                </c:pt>
                <c:pt idx="454">
                  <c:v>2727.4063494000002</c:v>
                </c:pt>
                <c:pt idx="455">
                  <c:v>2850.5767698999998</c:v>
                </c:pt>
                <c:pt idx="456">
                  <c:v>2972.8774035000001</c:v>
                </c:pt>
                <c:pt idx="457">
                  <c:v>3261.5350202999998</c:v>
                </c:pt>
                <c:pt idx="458">
                  <c:v>4666.6815612</c:v>
                </c:pt>
                <c:pt idx="459">
                  <c:v>6413.3958972999999</c:v>
                </c:pt>
                <c:pt idx="460">
                  <c:v>5620.7270115000001</c:v>
                </c:pt>
                <c:pt idx="461">
                  <c:v>2962.3981128999999</c:v>
                </c:pt>
                <c:pt idx="462">
                  <c:v>2887.4824186000001</c:v>
                </c:pt>
                <c:pt idx="463">
                  <c:v>2844.2356503999999</c:v>
                </c:pt>
                <c:pt idx="464">
                  <c:v>3258.3791437999998</c:v>
                </c:pt>
                <c:pt idx="465">
                  <c:v>4331.2212901000003</c:v>
                </c:pt>
                <c:pt idx="466">
                  <c:v>5429.2140412999997</c:v>
                </c:pt>
                <c:pt idx="467">
                  <c:v>4534.0825176999997</c:v>
                </c:pt>
                <c:pt idx="468">
                  <c:v>2785.0830222</c:v>
                </c:pt>
                <c:pt idx="469">
                  <c:v>3167.2094562000002</c:v>
                </c:pt>
                <c:pt idx="470">
                  <c:v>3418.6881087000002</c:v>
                </c:pt>
                <c:pt idx="471">
                  <c:v>3867.2067298000002</c:v>
                </c:pt>
                <c:pt idx="472">
                  <c:v>5267.5964652000002</c:v>
                </c:pt>
                <c:pt idx="473">
                  <c:v>7392.4379491999998</c:v>
                </c:pt>
                <c:pt idx="474">
                  <c:v>5977.1892807000004</c:v>
                </c:pt>
                <c:pt idx="475">
                  <c:v>3898.9228134</c:v>
                </c:pt>
                <c:pt idx="476">
                  <c:v>3846.1947967999999</c:v>
                </c:pt>
                <c:pt idx="477">
                  <c:v>4178.4271872999998</c:v>
                </c:pt>
                <c:pt idx="478">
                  <c:v>4273.2907961000001</c:v>
                </c:pt>
                <c:pt idx="479">
                  <c:v>6293.2382705999999</c:v>
                </c:pt>
                <c:pt idx="480">
                  <c:v>7700.9192860000003</c:v>
                </c:pt>
                <c:pt idx="481">
                  <c:v>6982.7645442000003</c:v>
                </c:pt>
                <c:pt idx="482">
                  <c:v>4059.1855894999999</c:v>
                </c:pt>
                <c:pt idx="483">
                  <c:v>4060.4534097999999</c:v>
                </c:pt>
                <c:pt idx="484">
                  <c:v>4456.7678355999997</c:v>
                </c:pt>
                <c:pt idx="485">
                  <c:v>4290.2155446999996</c:v>
                </c:pt>
                <c:pt idx="486">
                  <c:v>5788.5944258</c:v>
                </c:pt>
                <c:pt idx="487">
                  <c:v>7505.3895308000001</c:v>
                </c:pt>
                <c:pt idx="488">
                  <c:v>6200.0239412999999</c:v>
                </c:pt>
                <c:pt idx="489">
                  <c:v>3949.7624541999999</c:v>
                </c:pt>
                <c:pt idx="490">
                  <c:v>4031.5088110000002</c:v>
                </c:pt>
                <c:pt idx="491">
                  <c:v>4116.9736752999997</c:v>
                </c:pt>
                <c:pt idx="492">
                  <c:v>4555.5424377999998</c:v>
                </c:pt>
                <c:pt idx="493">
                  <c:v>5939.1121857999997</c:v>
                </c:pt>
                <c:pt idx="494">
                  <c:v>7013.3500746999998</c:v>
                </c:pt>
                <c:pt idx="495">
                  <c:v>5534.0466305</c:v>
                </c:pt>
                <c:pt idx="496">
                  <c:v>3623.2596315000001</c:v>
                </c:pt>
                <c:pt idx="497">
                  <c:v>3495.5270311999998</c:v>
                </c:pt>
                <c:pt idx="498">
                  <c:v>3523.3358576999999</c:v>
                </c:pt>
                <c:pt idx="499">
                  <c:v>3354.6383980000001</c:v>
                </c:pt>
                <c:pt idx="500">
                  <c:v>4340.1678130999999</c:v>
                </c:pt>
                <c:pt idx="501">
                  <c:v>5123.6994443000003</c:v>
                </c:pt>
                <c:pt idx="502">
                  <c:v>4259.4582588000003</c:v>
                </c:pt>
                <c:pt idx="503">
                  <c:v>2749.4096758999999</c:v>
                </c:pt>
                <c:pt idx="504">
                  <c:v>2648.2932589000002</c:v>
                </c:pt>
                <c:pt idx="505">
                  <c:v>2656.4162133999998</c:v>
                </c:pt>
                <c:pt idx="506">
                  <c:v>2696.5998236</c:v>
                </c:pt>
                <c:pt idx="507">
                  <c:v>4095.4790893999998</c:v>
                </c:pt>
                <c:pt idx="508">
                  <c:v>5172.8100015999999</c:v>
                </c:pt>
                <c:pt idx="509">
                  <c:v>3996.7155923999999</c:v>
                </c:pt>
                <c:pt idx="510">
                  <c:v>1963.9925278000001</c:v>
                </c:pt>
                <c:pt idx="511">
                  <c:v>1814.9561498999999</c:v>
                </c:pt>
                <c:pt idx="512">
                  <c:v>1708.2344037</c:v>
                </c:pt>
                <c:pt idx="513">
                  <c:v>1663.9199129000001</c:v>
                </c:pt>
                <c:pt idx="514">
                  <c:v>1740.2433894000001</c:v>
                </c:pt>
                <c:pt idx="515">
                  <c:v>1421.3767283</c:v>
                </c:pt>
                <c:pt idx="516">
                  <c:v>1253.3281047</c:v>
                </c:pt>
                <c:pt idx="517">
                  <c:v>1093.4252392000001</c:v>
                </c:pt>
                <c:pt idx="518">
                  <c:v>1069.1547966000001</c:v>
                </c:pt>
                <c:pt idx="519">
                  <c:v>1021.5195025</c:v>
                </c:pt>
                <c:pt idx="520">
                  <c:v>1018.7823783</c:v>
                </c:pt>
                <c:pt idx="521">
                  <c:v>984.22836870000003</c:v>
                </c:pt>
                <c:pt idx="522">
                  <c:v>1044.2012127</c:v>
                </c:pt>
                <c:pt idx="523">
                  <c:v>1051.8059409</c:v>
                </c:pt>
                <c:pt idx="524">
                  <c:v>929.21625329999995</c:v>
                </c:pt>
                <c:pt idx="525">
                  <c:v>855.90981339999996</c:v>
                </c:pt>
                <c:pt idx="526">
                  <c:v>875.044218</c:v>
                </c:pt>
                <c:pt idx="527">
                  <c:v>863.65325099999995</c:v>
                </c:pt>
                <c:pt idx="528">
                  <c:v>851.94474579999996</c:v>
                </c:pt>
                <c:pt idx="529">
                  <c:v>949.69693010000003</c:v>
                </c:pt>
                <c:pt idx="530">
                  <c:v>904.34835350000003</c:v>
                </c:pt>
                <c:pt idx="531">
                  <c:v>794.65108769999995</c:v>
                </c:pt>
                <c:pt idx="532">
                  <c:v>847.8320622</c:v>
                </c:pt>
                <c:pt idx="533">
                  <c:v>823.83825309999997</c:v>
                </c:pt>
                <c:pt idx="534">
                  <c:v>851.27799619999996</c:v>
                </c:pt>
                <c:pt idx="535">
                  <c:v>852.75888480000003</c:v>
                </c:pt>
                <c:pt idx="536">
                  <c:v>943.08755140000005</c:v>
                </c:pt>
                <c:pt idx="537">
                  <c:v>907.67710109999996</c:v>
                </c:pt>
                <c:pt idx="538">
                  <c:v>780.89637389999996</c:v>
                </c:pt>
                <c:pt idx="539">
                  <c:v>817.51666820000003</c:v>
                </c:pt>
                <c:pt idx="540">
                  <c:v>944.32706900000005</c:v>
                </c:pt>
                <c:pt idx="541">
                  <c:v>1009.4190343</c:v>
                </c:pt>
                <c:pt idx="542">
                  <c:v>1123.8028950999999</c:v>
                </c:pt>
                <c:pt idx="543">
                  <c:v>2708.8777696000002</c:v>
                </c:pt>
                <c:pt idx="544">
                  <c:v>2318.7247894000002</c:v>
                </c:pt>
                <c:pt idx="545">
                  <c:v>1018.2794855</c:v>
                </c:pt>
                <c:pt idx="546">
                  <c:v>1135.0676186999999</c:v>
                </c:pt>
                <c:pt idx="547">
                  <c:v>1166.7126209</c:v>
                </c:pt>
                <c:pt idx="548">
                  <c:v>1675.5497752000001</c:v>
                </c:pt>
                <c:pt idx="549">
                  <c:v>2557.2495221999998</c:v>
                </c:pt>
                <c:pt idx="550">
                  <c:v>3381.7147393</c:v>
                </c:pt>
                <c:pt idx="551">
                  <c:v>2707.3707755999999</c:v>
                </c:pt>
                <c:pt idx="552">
                  <c:v>1378.532854</c:v>
                </c:pt>
                <c:pt idx="553">
                  <c:v>1441.6069155</c:v>
                </c:pt>
                <c:pt idx="554">
                  <c:v>1286.2446539</c:v>
                </c:pt>
                <c:pt idx="555">
                  <c:v>1278.2869507</c:v>
                </c:pt>
                <c:pt idx="556">
                  <c:v>2270.8652929</c:v>
                </c:pt>
                <c:pt idx="557">
                  <c:v>2769.2544874999999</c:v>
                </c:pt>
                <c:pt idx="558">
                  <c:v>2309.4493186999998</c:v>
                </c:pt>
                <c:pt idx="559">
                  <c:v>1201.4715773</c:v>
                </c:pt>
                <c:pt idx="560">
                  <c:v>1227.3360714999999</c:v>
                </c:pt>
                <c:pt idx="561">
                  <c:v>1238.7776828000001</c:v>
                </c:pt>
                <c:pt idx="562">
                  <c:v>1335.0204146000001</c:v>
                </c:pt>
                <c:pt idx="563">
                  <c:v>3021.3602406</c:v>
                </c:pt>
                <c:pt idx="564">
                  <c:v>3258.3899296</c:v>
                </c:pt>
                <c:pt idx="565">
                  <c:v>2389.4861598000002</c:v>
                </c:pt>
                <c:pt idx="566">
                  <c:v>1254.8147199</c:v>
                </c:pt>
                <c:pt idx="567">
                  <c:v>1254.5900752</c:v>
                </c:pt>
                <c:pt idx="568">
                  <c:v>1271.1258029999999</c:v>
                </c:pt>
                <c:pt idx="569">
                  <c:v>2260.1953198000001</c:v>
                </c:pt>
                <c:pt idx="570">
                  <c:v>2350.3439308000002</c:v>
                </c:pt>
                <c:pt idx="571">
                  <c:v>1210.3673262</c:v>
                </c:pt>
                <c:pt idx="572">
                  <c:v>1188.4637901000001</c:v>
                </c:pt>
                <c:pt idx="573">
                  <c:v>1085.9531457999999</c:v>
                </c:pt>
                <c:pt idx="574">
                  <c:v>1036.1620155999999</c:v>
                </c:pt>
                <c:pt idx="575">
                  <c:v>1018.0040225</c:v>
                </c:pt>
                <c:pt idx="576">
                  <c:v>1007.3545706</c:v>
                </c:pt>
                <c:pt idx="577">
                  <c:v>1003.4228327</c:v>
                </c:pt>
                <c:pt idx="578">
                  <c:v>1063.9374591999999</c:v>
                </c:pt>
                <c:pt idx="579">
                  <c:v>1020.3553914</c:v>
                </c:pt>
                <c:pt idx="580">
                  <c:v>892.77766689999999</c:v>
                </c:pt>
                <c:pt idx="581">
                  <c:v>825.52278609999996</c:v>
                </c:pt>
                <c:pt idx="582">
                  <c:v>803.84887289999995</c:v>
                </c:pt>
                <c:pt idx="583">
                  <c:v>796.25329309999995</c:v>
                </c:pt>
                <c:pt idx="584">
                  <c:v>801.68127140000001</c:v>
                </c:pt>
                <c:pt idx="585">
                  <c:v>833.46984499999996</c:v>
                </c:pt>
                <c:pt idx="586">
                  <c:v>821.80068240000003</c:v>
                </c:pt>
                <c:pt idx="587">
                  <c:v>737.49478039999997</c:v>
                </c:pt>
                <c:pt idx="588">
                  <c:v>757.54817519999995</c:v>
                </c:pt>
                <c:pt idx="589">
                  <c:v>746.29365710000002</c:v>
                </c:pt>
                <c:pt idx="590">
                  <c:v>751.99934240000005</c:v>
                </c:pt>
                <c:pt idx="591">
                  <c:v>737.4858461</c:v>
                </c:pt>
                <c:pt idx="592">
                  <c:v>808.99297530000001</c:v>
                </c:pt>
                <c:pt idx="593">
                  <c:v>748.1677727</c:v>
                </c:pt>
                <c:pt idx="594">
                  <c:v>694.53562650000003</c:v>
                </c:pt>
                <c:pt idx="595">
                  <c:v>714.14635980000003</c:v>
                </c:pt>
                <c:pt idx="596">
                  <c:v>729.02382909999994</c:v>
                </c:pt>
                <c:pt idx="597">
                  <c:v>805.28049350000003</c:v>
                </c:pt>
                <c:pt idx="598">
                  <c:v>774.14341019999995</c:v>
                </c:pt>
                <c:pt idx="599">
                  <c:v>851.24139170000001</c:v>
                </c:pt>
                <c:pt idx="600">
                  <c:v>819.48716179999997</c:v>
                </c:pt>
                <c:pt idx="601">
                  <c:v>716.30340620000004</c:v>
                </c:pt>
                <c:pt idx="602">
                  <c:v>740.91295839999998</c:v>
                </c:pt>
                <c:pt idx="603">
                  <c:v>763.30489069999999</c:v>
                </c:pt>
                <c:pt idx="604">
                  <c:v>867.43507529999999</c:v>
                </c:pt>
                <c:pt idx="605">
                  <c:v>827.55268690000003</c:v>
                </c:pt>
                <c:pt idx="606">
                  <c:v>953.45950889999995</c:v>
                </c:pt>
                <c:pt idx="607">
                  <c:v>920.22617769999999</c:v>
                </c:pt>
                <c:pt idx="608">
                  <c:v>856.66094129999999</c:v>
                </c:pt>
                <c:pt idx="609">
                  <c:v>834.61798380000005</c:v>
                </c:pt>
                <c:pt idx="610">
                  <c:v>845.49631790000001</c:v>
                </c:pt>
                <c:pt idx="611">
                  <c:v>1137.4663900999999</c:v>
                </c:pt>
                <c:pt idx="612">
                  <c:v>922.96129099999996</c:v>
                </c:pt>
                <c:pt idx="613">
                  <c:v>1078.6132124000001</c:v>
                </c:pt>
                <c:pt idx="614">
                  <c:v>1098.1553054000001</c:v>
                </c:pt>
                <c:pt idx="615">
                  <c:v>854.80725389999998</c:v>
                </c:pt>
                <c:pt idx="616">
                  <c:v>850.72061689999998</c:v>
                </c:pt>
                <c:pt idx="617">
                  <c:v>876.28239599999995</c:v>
                </c:pt>
                <c:pt idx="618">
                  <c:v>1149.4073754000001</c:v>
                </c:pt>
                <c:pt idx="619">
                  <c:v>960.17644819999998</c:v>
                </c:pt>
                <c:pt idx="620">
                  <c:v>1121.2223406999999</c:v>
                </c:pt>
                <c:pt idx="621">
                  <c:v>941.91798740000002</c:v>
                </c:pt>
                <c:pt idx="622">
                  <c:v>854.94886180000003</c:v>
                </c:pt>
                <c:pt idx="623">
                  <c:v>849.54834689999996</c:v>
                </c:pt>
                <c:pt idx="624">
                  <c:v>847.98945749999996</c:v>
                </c:pt>
                <c:pt idx="625">
                  <c:v>1118.3920069000001</c:v>
                </c:pt>
                <c:pt idx="626">
                  <c:v>910.30280259999995</c:v>
                </c:pt>
                <c:pt idx="627">
                  <c:v>1059.1823712</c:v>
                </c:pt>
                <c:pt idx="628">
                  <c:v>910.17931099999998</c:v>
                </c:pt>
                <c:pt idx="629">
                  <c:v>820.58374170000002</c:v>
                </c:pt>
                <c:pt idx="630">
                  <c:v>833.9422429</c:v>
                </c:pt>
                <c:pt idx="631">
                  <c:v>878.21949010000003</c:v>
                </c:pt>
                <c:pt idx="632">
                  <c:v>1209.8025136000001</c:v>
                </c:pt>
                <c:pt idx="633">
                  <c:v>992.30728369999997</c:v>
                </c:pt>
                <c:pt idx="634">
                  <c:v>1108.2855172</c:v>
                </c:pt>
                <c:pt idx="635">
                  <c:v>943.8370175</c:v>
                </c:pt>
                <c:pt idx="636">
                  <c:v>848.67113640000002</c:v>
                </c:pt>
                <c:pt idx="637">
                  <c:v>878.22925110000006</c:v>
                </c:pt>
                <c:pt idx="638">
                  <c:v>888.6742332</c:v>
                </c:pt>
                <c:pt idx="639">
                  <c:v>1206.2111906</c:v>
                </c:pt>
                <c:pt idx="640">
                  <c:v>995.59881089999999</c:v>
                </c:pt>
                <c:pt idx="641">
                  <c:v>1188.3064343000001</c:v>
                </c:pt>
                <c:pt idx="642">
                  <c:v>993.09458219999999</c:v>
                </c:pt>
                <c:pt idx="643">
                  <c:v>899.07764540000005</c:v>
                </c:pt>
                <c:pt idx="644">
                  <c:v>924.69941530000006</c:v>
                </c:pt>
                <c:pt idx="645">
                  <c:v>946.62200440000004</c:v>
                </c:pt>
                <c:pt idx="646">
                  <c:v>1171.0659295999999</c:v>
                </c:pt>
                <c:pt idx="647">
                  <c:v>1067.5281548</c:v>
                </c:pt>
                <c:pt idx="648">
                  <c:v>1262.5643938999999</c:v>
                </c:pt>
                <c:pt idx="649">
                  <c:v>1085.0070760000001</c:v>
                </c:pt>
                <c:pt idx="650">
                  <c:v>1005.3753861</c:v>
                </c:pt>
                <c:pt idx="651">
                  <c:v>1037.2505283</c:v>
                </c:pt>
                <c:pt idx="652">
                  <c:v>1061.6547487</c:v>
                </c:pt>
                <c:pt idx="653">
                  <c:v>1401.0681597</c:v>
                </c:pt>
                <c:pt idx="654">
                  <c:v>1218.676903</c:v>
                </c:pt>
                <c:pt idx="655">
                  <c:v>1436.0499503000001</c:v>
                </c:pt>
                <c:pt idx="656">
                  <c:v>1215.4272291</c:v>
                </c:pt>
                <c:pt idx="657">
                  <c:v>1102.5190393</c:v>
                </c:pt>
                <c:pt idx="658">
                  <c:v>1221.0575762000001</c:v>
                </c:pt>
                <c:pt idx="659">
                  <c:v>1363.7882949</c:v>
                </c:pt>
                <c:pt idx="660">
                  <c:v>1684.0223427000001</c:v>
                </c:pt>
                <c:pt idx="661">
                  <c:v>2972.75153</c:v>
                </c:pt>
                <c:pt idx="662">
                  <c:v>3745.0787734999999</c:v>
                </c:pt>
                <c:pt idx="663">
                  <c:v>3266.9323436999998</c:v>
                </c:pt>
                <c:pt idx="664">
                  <c:v>1883.8520183999999</c:v>
                </c:pt>
                <c:pt idx="665">
                  <c:v>1632.8492988999999</c:v>
                </c:pt>
                <c:pt idx="666">
                  <c:v>1681.9392762</c:v>
                </c:pt>
                <c:pt idx="667">
                  <c:v>2004.1755456999999</c:v>
                </c:pt>
                <c:pt idx="668">
                  <c:v>3066.7239411999999</c:v>
                </c:pt>
                <c:pt idx="669">
                  <c:v>3988.2457230999999</c:v>
                </c:pt>
                <c:pt idx="670">
                  <c:v>3353.6415966999998</c:v>
                </c:pt>
                <c:pt idx="671">
                  <c:v>2043.6075885</c:v>
                </c:pt>
                <c:pt idx="672">
                  <c:v>1839.0827283000001</c:v>
                </c:pt>
                <c:pt idx="673">
                  <c:v>1767.5538776000001</c:v>
                </c:pt>
                <c:pt idx="674">
                  <c:v>2014.7638858</c:v>
                </c:pt>
                <c:pt idx="675">
                  <c:v>3204.3688797</c:v>
                </c:pt>
                <c:pt idx="676">
                  <c:v>4245.2314643</c:v>
                </c:pt>
                <c:pt idx="677">
                  <c:v>3340.1959151999999</c:v>
                </c:pt>
                <c:pt idx="678">
                  <c:v>1613.5195021</c:v>
                </c:pt>
                <c:pt idx="679">
                  <c:v>1745.4268496</c:v>
                </c:pt>
                <c:pt idx="680">
                  <c:v>1777.6443194999999</c:v>
                </c:pt>
                <c:pt idx="681">
                  <c:v>1901.5085317</c:v>
                </c:pt>
                <c:pt idx="682">
                  <c:v>3276.2543386000002</c:v>
                </c:pt>
                <c:pt idx="683">
                  <c:v>4357.7869142999998</c:v>
                </c:pt>
                <c:pt idx="684">
                  <c:v>3462.6958120999998</c:v>
                </c:pt>
                <c:pt idx="685">
                  <c:v>1829.4066333999999</c:v>
                </c:pt>
                <c:pt idx="686">
                  <c:v>1826.0991994000001</c:v>
                </c:pt>
                <c:pt idx="687">
                  <c:v>1839.2612028999999</c:v>
                </c:pt>
                <c:pt idx="688">
                  <c:v>2052.8065980000001</c:v>
                </c:pt>
                <c:pt idx="689">
                  <c:v>3362.8557609999998</c:v>
                </c:pt>
                <c:pt idx="690">
                  <c:v>4382.0404765000003</c:v>
                </c:pt>
                <c:pt idx="691">
                  <c:v>3837.2470480000002</c:v>
                </c:pt>
                <c:pt idx="692">
                  <c:v>2398.8466404000001</c:v>
                </c:pt>
                <c:pt idx="693">
                  <c:v>1980.8104837999999</c:v>
                </c:pt>
                <c:pt idx="694">
                  <c:v>2061.7549505000002</c:v>
                </c:pt>
                <c:pt idx="695">
                  <c:v>2377.4795573000001</c:v>
                </c:pt>
                <c:pt idx="696">
                  <c:v>3634.3944857000001</c:v>
                </c:pt>
                <c:pt idx="697">
                  <c:v>4583.0576997999997</c:v>
                </c:pt>
                <c:pt idx="698">
                  <c:v>3807.4812625999998</c:v>
                </c:pt>
                <c:pt idx="699">
                  <c:v>2066.5856666</c:v>
                </c:pt>
                <c:pt idx="700">
                  <c:v>2068.5738631999998</c:v>
                </c:pt>
                <c:pt idx="701">
                  <c:v>2117.2661072000001</c:v>
                </c:pt>
                <c:pt idx="702">
                  <c:v>2408.3787974000002</c:v>
                </c:pt>
                <c:pt idx="703">
                  <c:v>3760.1407380000001</c:v>
                </c:pt>
                <c:pt idx="704">
                  <c:v>4881.2485631</c:v>
                </c:pt>
                <c:pt idx="705">
                  <c:v>4230.1696405000002</c:v>
                </c:pt>
                <c:pt idx="706">
                  <c:v>2961.4735933000002</c:v>
                </c:pt>
                <c:pt idx="707">
                  <c:v>3162.2726966</c:v>
                </c:pt>
                <c:pt idx="708">
                  <c:v>3793.8851153000001</c:v>
                </c:pt>
                <c:pt idx="709">
                  <c:v>3764.8263931000001</c:v>
                </c:pt>
                <c:pt idx="710">
                  <c:v>5921.114998</c:v>
                </c:pt>
                <c:pt idx="711">
                  <c:v>6903.2301637999999</c:v>
                </c:pt>
                <c:pt idx="712">
                  <c:v>6383.7508983999996</c:v>
                </c:pt>
                <c:pt idx="713">
                  <c:v>4267.4314040999998</c:v>
                </c:pt>
                <c:pt idx="714">
                  <c:v>4235.2301927999997</c:v>
                </c:pt>
                <c:pt idx="715">
                  <c:v>4170.4967511000004</c:v>
                </c:pt>
                <c:pt idx="716">
                  <c:v>4543.8234351999999</c:v>
                </c:pt>
                <c:pt idx="717">
                  <c:v>5999.0928425000002</c:v>
                </c:pt>
                <c:pt idx="718">
                  <c:v>7578.9694964999999</c:v>
                </c:pt>
                <c:pt idx="719">
                  <c:v>7147.9933118999998</c:v>
                </c:pt>
                <c:pt idx="720">
                  <c:v>5102.7336770000002</c:v>
                </c:pt>
                <c:pt idx="721">
                  <c:v>3991.0536127</c:v>
                </c:pt>
                <c:pt idx="722">
                  <c:v>4106.9486395000004</c:v>
                </c:pt>
                <c:pt idx="723">
                  <c:v>4425.0745221999996</c:v>
                </c:pt>
                <c:pt idx="724">
                  <c:v>5880.9117507000001</c:v>
                </c:pt>
                <c:pt idx="725">
                  <c:v>7381.8888404999998</c:v>
                </c:pt>
                <c:pt idx="726">
                  <c:v>6534.0049005000001</c:v>
                </c:pt>
                <c:pt idx="727">
                  <c:v>4331.1812002999995</c:v>
                </c:pt>
                <c:pt idx="728">
                  <c:v>4337.8566805999999</c:v>
                </c:pt>
                <c:pt idx="729">
                  <c:v>4472.4499598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C7-4899-B599-85AF5F000A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1755007"/>
        <c:axId val="611761487"/>
      </c:lineChart>
      <c:dateAx>
        <c:axId val="611755007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761487"/>
        <c:crosses val="autoZero"/>
        <c:auto val="1"/>
        <c:lblOffset val="100"/>
        <c:baseTimeUnit val="days"/>
      </c:dateAx>
      <c:valAx>
        <c:axId val="6117614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7550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edia Contrib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10459942507186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ntribution</c:v>
                </c:pt>
              </c:strCache>
            </c:strRef>
          </c:tx>
          <c:dPt>
            <c:idx val="0"/>
            <c:bubble3D val="0"/>
            <c:spPr>
              <a:solidFill>
                <a:srgbClr val="70AD47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D3-48FE-92D6-3B505ABE5710}"/>
              </c:ext>
            </c:extLst>
          </c:dPt>
          <c:dPt>
            <c:idx val="1"/>
            <c:bubble3D val="0"/>
            <c:spPr>
              <a:solidFill>
                <a:srgbClr val="5B9BD5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D3-48FE-92D6-3B505ABE571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D3-48FE-92D6-3B505ABE5710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D3-48FE-92D6-3B505ABE5710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D3-48FE-92D6-3B505ABE5710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2D3-48FE-92D6-3B505ABE5710}"/>
              </c:ext>
            </c:extLst>
          </c:dPt>
          <c:dPt>
            <c:idx val="6"/>
            <c:bubble3D val="0"/>
            <c:spPr>
              <a:solidFill>
                <a:srgbClr val="ED7D31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2D3-48FE-92D6-3B505ABE5710}"/>
              </c:ext>
            </c:extLst>
          </c:dPt>
          <c:dPt>
            <c:idx val="7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2D3-48FE-92D6-3B505ABE5710}"/>
              </c:ext>
            </c:extLst>
          </c:dPt>
          <c:dPt>
            <c:idx val="8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2D3-48FE-92D6-3B505ABE5710}"/>
              </c:ext>
            </c:extLst>
          </c:dPt>
          <c:dPt>
            <c:idx val="9"/>
            <c:bubble3D val="0"/>
            <c:spPr>
              <a:solidFill>
                <a:srgbClr val="ED7D31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D3-48FE-92D6-3B505ABE5710}"/>
              </c:ext>
            </c:extLst>
          </c:dPt>
          <c:dLbls>
            <c:dLbl>
              <c:idx val="0"/>
              <c:layout>
                <c:manualLayout>
                  <c:x val="-1.2233106400345082E-2"/>
                  <c:y val="-0.224999888045498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D3-48FE-92D6-3B505ABE5710}"/>
                </c:ext>
              </c:extLst>
            </c:dLbl>
            <c:dLbl>
              <c:idx val="1"/>
              <c:layout>
                <c:manualLayout>
                  <c:x val="9.6804484399902926E-2"/>
                  <c:y val="0.1356078009896777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D3-48FE-92D6-3B505ABE5710}"/>
                </c:ext>
              </c:extLst>
            </c:dLbl>
            <c:dLbl>
              <c:idx val="2"/>
              <c:layout>
                <c:manualLayout>
                  <c:x val="2.5833930178457837E-2"/>
                  <c:y val="-0.1872920420818694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D3-48FE-92D6-3B505ABE5710}"/>
                </c:ext>
              </c:extLst>
            </c:dLbl>
            <c:dLbl>
              <c:idx val="3"/>
              <c:layout>
                <c:manualLayout>
                  <c:x val="0.1025831658886229"/>
                  <c:y val="0.1090667798402677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D3-48FE-92D6-3B505ABE5710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D3-48FE-92D6-3B505ABE5710}"/>
                </c:ext>
              </c:extLst>
            </c:dLbl>
            <c:dLbl>
              <c:idx val="5"/>
              <c:layout>
                <c:manualLayout>
                  <c:x val="-1.5814199388766762E-3"/>
                  <c:y val="-7.538120507825619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2D3-48FE-92D6-3B505ABE5710}"/>
                </c:ext>
              </c:extLst>
            </c:dLbl>
            <c:dLbl>
              <c:idx val="6"/>
              <c:layout>
                <c:manualLayout>
                  <c:x val="1.091525645128129E-2"/>
                  <c:y val="6.314009986341550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2D3-48FE-92D6-3B505ABE5710}"/>
                </c:ext>
              </c:extLst>
            </c:dLbl>
            <c:dLbl>
              <c:idx val="7"/>
              <c:layout>
                <c:manualLayout>
                  <c:x val="3.5446685433468289E-3"/>
                  <c:y val="5.40285707888314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7030A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2D3-48FE-92D6-3B505ABE5710}"/>
                </c:ext>
              </c:extLst>
            </c:dLbl>
            <c:dLbl>
              <c:idx val="8"/>
              <c:layout>
                <c:manualLayout>
                  <c:x val="-8.50684702274122E-3"/>
                  <c:y val="7.294395557645372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2D3-48FE-92D6-3B505ABE5710}"/>
                </c:ext>
              </c:extLst>
            </c:dLbl>
            <c:dLbl>
              <c:idx val="9"/>
              <c:layout>
                <c:manualLayout>
                  <c:x val="-0.11535697305425636"/>
                  <c:y val="2.055921164186385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baseline="0" dirty="0">
                        <a:solidFill>
                          <a:schemeClr val="bg1"/>
                        </a:solidFill>
                      </a:rPr>
                      <a:t>Media
</a:t>
                    </a:r>
                    <a:fld id="{F867AD98-D55A-492D-BC41-FB8C44CFB68D}" type="VALUE">
                      <a:rPr lang="en-US" sz="1200" baseline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120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7.7020696814126738E-2"/>
                      <c:h val="0.1229023085018248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B2D3-48FE-92D6-3B505ABE57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Organic</c:v>
                </c:pt>
                <c:pt idx="1">
                  <c:v>Non Media</c:v>
                </c:pt>
                <c:pt idx="2">
                  <c:v>Facebook Total</c:v>
                </c:pt>
                <c:pt idx="3">
                  <c:v>Google Total</c:v>
                </c:pt>
                <c:pt idx="4">
                  <c:v>OOH Total</c:v>
                </c:pt>
                <c:pt idx="5">
                  <c:v>Apple Search</c:v>
                </c:pt>
                <c:pt idx="6">
                  <c:v>Snap</c:v>
                </c:pt>
                <c:pt idx="7">
                  <c:v>Influencers</c:v>
                </c:pt>
                <c:pt idx="8">
                  <c:v>Media Others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30989552189621961</c:v>
                </c:pt>
                <c:pt idx="1">
                  <c:v>0.50948813795771486</c:v>
                </c:pt>
                <c:pt idx="2">
                  <c:v>6.301434008847967E-2</c:v>
                </c:pt>
                <c:pt idx="3">
                  <c:v>5.6704781348882259E-2</c:v>
                </c:pt>
                <c:pt idx="4">
                  <c:v>3.6113353274742382E-2</c:v>
                </c:pt>
                <c:pt idx="5">
                  <c:v>9.4655257914036985E-3</c:v>
                </c:pt>
                <c:pt idx="6">
                  <c:v>5.1244551249380547E-3</c:v>
                </c:pt>
                <c:pt idx="7">
                  <c:v>6.0071761029069021E-3</c:v>
                </c:pt>
                <c:pt idx="8">
                  <c:v>4.186708414712525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2D3-48FE-92D6-3B505ABE57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7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1FEA2-0832-4909-AEEB-429EB27045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E376B1-BD84-4342-B9EB-DBEAD0C692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D56AE4-804C-4EC5-8484-EE381BCA7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EC8BCA-C920-47F4-881F-3C7DEB98C2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EC449F-8768-4C14-8D12-32527BA37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20742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5FA110-492C-4AF4-BD71-3057730A66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19B5EB-F5ED-43B4-83B7-C7DBD8E9CB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8D16-98E6-4FF8-9613-F4B27E3EB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BC26A-16C3-4CD0-8137-8F871A9BC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9A25F-6BD2-4390-A041-37529201E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8461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863C0F-E928-4271-8DE6-D0952F191B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AB7FF3-5B31-4810-8EC1-6B8FFF3E6E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C911D1-63BB-4BA6-9456-9EB08D2A0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7617C7-7A69-4AFB-846C-DCDA808F5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A3C885-7FEA-4FB2-B322-402989A96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2487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182D1E7-33C8-4911-97EF-E269400E6501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9" name="Picture 2" descr="\\SONY\Users\Nivas\Desktop\analytic-edge\logo.png">
              <a:extLst>
                <a:ext uri="{FF2B5EF4-FFF2-40B4-BE49-F238E27FC236}">
                  <a16:creationId xmlns:a16="http://schemas.microsoft.com/office/drawing/2014/main" id="{70ECF28D-9ED1-4130-810F-BF36334F331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B9BE10-F4BE-4239-A1CD-D9B41EFC9C45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12" name="Rectangle 1">
                <a:extLst>
                  <a:ext uri="{FF2B5EF4-FFF2-40B4-BE49-F238E27FC236}">
                    <a16:creationId xmlns:a16="http://schemas.microsoft.com/office/drawing/2014/main" id="{A97356E1-CA4A-4D2D-A662-AE2A1325E852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7CA855A-4EAE-4495-BF53-D70498E46EF8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14" name="Freeform 10">
                  <a:extLst>
                    <a:ext uri="{FF2B5EF4-FFF2-40B4-BE49-F238E27FC236}">
                      <a16:creationId xmlns:a16="http://schemas.microsoft.com/office/drawing/2014/main" id="{09012B7E-D505-41CD-A9DB-A7AD80253D7A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" name="Freeform 11">
                  <a:extLst>
                    <a:ext uri="{FF2B5EF4-FFF2-40B4-BE49-F238E27FC236}">
                      <a16:creationId xmlns:a16="http://schemas.microsoft.com/office/drawing/2014/main" id="{CF712DE5-4B06-4C42-9A91-EF745F6CA988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541385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Yotta Games遊戲平臺">
            <a:extLst>
              <a:ext uri="{FF2B5EF4-FFF2-40B4-BE49-F238E27FC236}">
                <a16:creationId xmlns:a16="http://schemas.microsoft.com/office/drawing/2014/main" id="{0D876054-AB83-4DE0-85EB-755ED201A9A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01"/>
          <a:stretch/>
        </p:blipFill>
        <p:spPr bwMode="auto">
          <a:xfrm>
            <a:off x="0" y="27362"/>
            <a:ext cx="12192001" cy="682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99DD7F4-2A39-4138-A443-B39E61E23F2D}"/>
              </a:ext>
            </a:extLst>
          </p:cNvPr>
          <p:cNvSpPr/>
          <p:nvPr userDrawn="1"/>
        </p:nvSpPr>
        <p:spPr>
          <a:xfrm>
            <a:off x="-30811" y="4930352"/>
            <a:ext cx="12279442" cy="1955935"/>
          </a:xfrm>
          <a:custGeom>
            <a:avLst/>
            <a:gdLst>
              <a:gd name="connsiteX0" fmla="*/ 0 w 5162550"/>
              <a:gd name="connsiteY0" fmla="*/ 6858000 h 6896100"/>
              <a:gd name="connsiteX1" fmla="*/ 3752850 w 5162550"/>
              <a:gd name="connsiteY1" fmla="*/ 0 h 6896100"/>
              <a:gd name="connsiteX2" fmla="*/ 5162550 w 5162550"/>
              <a:gd name="connsiteY2" fmla="*/ 19050 h 6896100"/>
              <a:gd name="connsiteX3" fmla="*/ 5086350 w 5162550"/>
              <a:gd name="connsiteY3" fmla="*/ 6896100 h 6896100"/>
              <a:gd name="connsiteX4" fmla="*/ 95250 w 5162550"/>
              <a:gd name="connsiteY4" fmla="*/ 6877050 h 6896100"/>
              <a:gd name="connsiteX0" fmla="*/ 0 w 5162550"/>
              <a:gd name="connsiteY0" fmla="*/ 6858000 h 6896100"/>
              <a:gd name="connsiteX1" fmla="*/ 3752850 w 5162550"/>
              <a:gd name="connsiteY1" fmla="*/ 0 h 6896100"/>
              <a:gd name="connsiteX2" fmla="*/ 5162550 w 5162550"/>
              <a:gd name="connsiteY2" fmla="*/ 19050 h 6896100"/>
              <a:gd name="connsiteX3" fmla="*/ 5143500 w 5162550"/>
              <a:gd name="connsiteY3" fmla="*/ 6896100 h 6896100"/>
              <a:gd name="connsiteX4" fmla="*/ 95250 w 5162550"/>
              <a:gd name="connsiteY4" fmla="*/ 6877050 h 6896100"/>
              <a:gd name="connsiteX0" fmla="*/ 0 w 5162550"/>
              <a:gd name="connsiteY0" fmla="*/ 6838950 h 6877050"/>
              <a:gd name="connsiteX1" fmla="*/ 3782830 w 5162550"/>
              <a:gd name="connsiteY1" fmla="*/ 10930 h 6877050"/>
              <a:gd name="connsiteX2" fmla="*/ 5162550 w 5162550"/>
              <a:gd name="connsiteY2" fmla="*/ 0 h 6877050"/>
              <a:gd name="connsiteX3" fmla="*/ 5143500 w 5162550"/>
              <a:gd name="connsiteY3" fmla="*/ 6877050 h 6877050"/>
              <a:gd name="connsiteX4" fmla="*/ 95250 w 5162550"/>
              <a:gd name="connsiteY4" fmla="*/ 6858000 h 6877050"/>
              <a:gd name="connsiteX0" fmla="*/ 0 w 5162550"/>
              <a:gd name="connsiteY0" fmla="*/ 6838950 h 6877050"/>
              <a:gd name="connsiteX1" fmla="*/ 2919259 w 5162550"/>
              <a:gd name="connsiteY1" fmla="*/ 10930 h 6877050"/>
              <a:gd name="connsiteX2" fmla="*/ 5162550 w 5162550"/>
              <a:gd name="connsiteY2" fmla="*/ 0 h 6877050"/>
              <a:gd name="connsiteX3" fmla="*/ 5143500 w 5162550"/>
              <a:gd name="connsiteY3" fmla="*/ 6877050 h 6877050"/>
              <a:gd name="connsiteX4" fmla="*/ 95250 w 5162550"/>
              <a:gd name="connsiteY4" fmla="*/ 6858000 h 6877050"/>
              <a:gd name="connsiteX0" fmla="*/ 0 w 5162550"/>
              <a:gd name="connsiteY0" fmla="*/ 6866120 h 6904220"/>
              <a:gd name="connsiteX1" fmla="*/ 4013116 w 5162550"/>
              <a:gd name="connsiteY1" fmla="*/ 0 h 6904220"/>
              <a:gd name="connsiteX2" fmla="*/ 5162550 w 5162550"/>
              <a:gd name="connsiteY2" fmla="*/ 27170 h 6904220"/>
              <a:gd name="connsiteX3" fmla="*/ 5143500 w 5162550"/>
              <a:gd name="connsiteY3" fmla="*/ 6904220 h 6904220"/>
              <a:gd name="connsiteX4" fmla="*/ 95250 w 5162550"/>
              <a:gd name="connsiteY4" fmla="*/ 6885170 h 6904220"/>
              <a:gd name="connsiteX0" fmla="*/ 0 w 5162550"/>
              <a:gd name="connsiteY0" fmla="*/ 6866120 h 6904220"/>
              <a:gd name="connsiteX1" fmla="*/ 4013116 w 5162550"/>
              <a:gd name="connsiteY1" fmla="*/ 0 h 6904220"/>
              <a:gd name="connsiteX2" fmla="*/ 5162550 w 5162550"/>
              <a:gd name="connsiteY2" fmla="*/ 27170 h 6904220"/>
              <a:gd name="connsiteX3" fmla="*/ 5143500 w 5162550"/>
              <a:gd name="connsiteY3" fmla="*/ 6904220 h 6904220"/>
              <a:gd name="connsiteX4" fmla="*/ 1246678 w 5162550"/>
              <a:gd name="connsiteY4" fmla="*/ 6885170 h 6904220"/>
              <a:gd name="connsiteX0" fmla="*/ 0 w 4087884"/>
              <a:gd name="connsiteY0" fmla="*/ 6885170 h 6904220"/>
              <a:gd name="connsiteX1" fmla="*/ 2938450 w 4087884"/>
              <a:gd name="connsiteY1" fmla="*/ 0 h 6904220"/>
              <a:gd name="connsiteX2" fmla="*/ 4087884 w 4087884"/>
              <a:gd name="connsiteY2" fmla="*/ 27170 h 6904220"/>
              <a:gd name="connsiteX3" fmla="*/ 4068834 w 4087884"/>
              <a:gd name="connsiteY3" fmla="*/ 6904220 h 6904220"/>
              <a:gd name="connsiteX4" fmla="*/ 172012 w 4087884"/>
              <a:gd name="connsiteY4" fmla="*/ 6885170 h 6904220"/>
              <a:gd name="connsiteX0" fmla="*/ 0 w 4087884"/>
              <a:gd name="connsiteY0" fmla="*/ 6858000 h 6877050"/>
              <a:gd name="connsiteX1" fmla="*/ 2593715 w 4087884"/>
              <a:gd name="connsiteY1" fmla="*/ 17801 h 6877050"/>
              <a:gd name="connsiteX2" fmla="*/ 4087884 w 4087884"/>
              <a:gd name="connsiteY2" fmla="*/ 0 h 6877050"/>
              <a:gd name="connsiteX3" fmla="*/ 4068834 w 4087884"/>
              <a:gd name="connsiteY3" fmla="*/ 6877050 h 6877050"/>
              <a:gd name="connsiteX4" fmla="*/ 172012 w 4087884"/>
              <a:gd name="connsiteY4" fmla="*/ 6858000 h 6877050"/>
              <a:gd name="connsiteX0" fmla="*/ 0 w 4087884"/>
              <a:gd name="connsiteY0" fmla="*/ 6858000 h 6877050"/>
              <a:gd name="connsiteX1" fmla="*/ 43058 w 4087884"/>
              <a:gd name="connsiteY1" fmla="*/ 908543 h 6877050"/>
              <a:gd name="connsiteX2" fmla="*/ 4087884 w 4087884"/>
              <a:gd name="connsiteY2" fmla="*/ 0 h 6877050"/>
              <a:gd name="connsiteX3" fmla="*/ 4068834 w 4087884"/>
              <a:gd name="connsiteY3" fmla="*/ 6877050 h 6877050"/>
              <a:gd name="connsiteX4" fmla="*/ 172012 w 4087884"/>
              <a:gd name="connsiteY4" fmla="*/ 6858000 h 6877050"/>
              <a:gd name="connsiteX0" fmla="*/ 92 w 4044826"/>
              <a:gd name="connsiteY0" fmla="*/ 6858000 h 6877050"/>
              <a:gd name="connsiteX1" fmla="*/ 0 w 4044826"/>
              <a:gd name="connsiteY1" fmla="*/ 908543 h 6877050"/>
              <a:gd name="connsiteX2" fmla="*/ 4044826 w 4044826"/>
              <a:gd name="connsiteY2" fmla="*/ 0 h 6877050"/>
              <a:gd name="connsiteX3" fmla="*/ 4025776 w 4044826"/>
              <a:gd name="connsiteY3" fmla="*/ 6877050 h 6877050"/>
              <a:gd name="connsiteX4" fmla="*/ 128954 w 4044826"/>
              <a:gd name="connsiteY4" fmla="*/ 6858000 h 6877050"/>
              <a:gd name="connsiteX0" fmla="*/ 5383 w 4050117"/>
              <a:gd name="connsiteY0" fmla="*/ 6858000 h 6910396"/>
              <a:gd name="connsiteX1" fmla="*/ 5291 w 4050117"/>
              <a:gd name="connsiteY1" fmla="*/ 908543 h 6910396"/>
              <a:gd name="connsiteX2" fmla="*/ 4050117 w 4050117"/>
              <a:gd name="connsiteY2" fmla="*/ 0 h 6910396"/>
              <a:gd name="connsiteX3" fmla="*/ 4031067 w 4050117"/>
              <a:gd name="connsiteY3" fmla="*/ 6877050 h 6910396"/>
              <a:gd name="connsiteX4" fmla="*/ 0 w 4050117"/>
              <a:gd name="connsiteY4" fmla="*/ 6910396 h 6910396"/>
              <a:gd name="connsiteX0" fmla="*/ 5383 w 4050117"/>
              <a:gd name="connsiteY0" fmla="*/ 7318863 h 7371259"/>
              <a:gd name="connsiteX1" fmla="*/ 5291 w 4050117"/>
              <a:gd name="connsiteY1" fmla="*/ 1369406 h 7371259"/>
              <a:gd name="connsiteX2" fmla="*/ 4050117 w 4050117"/>
              <a:gd name="connsiteY2" fmla="*/ 460863 h 7371259"/>
              <a:gd name="connsiteX3" fmla="*/ 4031067 w 4050117"/>
              <a:gd name="connsiteY3" fmla="*/ 7337913 h 7371259"/>
              <a:gd name="connsiteX4" fmla="*/ 0 w 4050117"/>
              <a:gd name="connsiteY4" fmla="*/ 7371259 h 7371259"/>
              <a:gd name="connsiteX0" fmla="*/ 5383 w 4050117"/>
              <a:gd name="connsiteY0" fmla="*/ 7008529 h 7060925"/>
              <a:gd name="connsiteX1" fmla="*/ 496 w 4050117"/>
              <a:gd name="connsiteY1" fmla="*/ 4517247 h 7060925"/>
              <a:gd name="connsiteX2" fmla="*/ 4050117 w 4050117"/>
              <a:gd name="connsiteY2" fmla="*/ 150529 h 7060925"/>
              <a:gd name="connsiteX3" fmla="*/ 4031067 w 4050117"/>
              <a:gd name="connsiteY3" fmla="*/ 7027579 h 7060925"/>
              <a:gd name="connsiteX4" fmla="*/ 0 w 4050117"/>
              <a:gd name="connsiteY4" fmla="*/ 7060925 h 7060925"/>
              <a:gd name="connsiteX0" fmla="*/ 5383 w 4056238"/>
              <a:gd name="connsiteY0" fmla="*/ 7008529 h 7060925"/>
              <a:gd name="connsiteX1" fmla="*/ 496 w 4056238"/>
              <a:gd name="connsiteY1" fmla="*/ 4517247 h 7060925"/>
              <a:gd name="connsiteX2" fmla="*/ 4050117 w 4056238"/>
              <a:gd name="connsiteY2" fmla="*/ 150529 h 7060925"/>
              <a:gd name="connsiteX3" fmla="*/ 4056238 w 4056238"/>
              <a:gd name="connsiteY3" fmla="*/ 7027579 h 7060925"/>
              <a:gd name="connsiteX4" fmla="*/ 0 w 4056238"/>
              <a:gd name="connsiteY4" fmla="*/ 7060925 h 706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6238" h="7060925">
                <a:moveTo>
                  <a:pt x="5383" y="7008529"/>
                </a:moveTo>
                <a:cubicBezTo>
                  <a:pt x="5352" y="5025377"/>
                  <a:pt x="527" y="6500399"/>
                  <a:pt x="496" y="4517247"/>
                </a:cubicBezTo>
                <a:cubicBezTo>
                  <a:pt x="674618" y="3374247"/>
                  <a:pt x="3379154" y="-844222"/>
                  <a:pt x="4050117" y="150529"/>
                </a:cubicBezTo>
                <a:cubicBezTo>
                  <a:pt x="4052157" y="2442879"/>
                  <a:pt x="4054198" y="4735229"/>
                  <a:pt x="4056238" y="7027579"/>
                </a:cubicBezTo>
                <a:lnTo>
                  <a:pt x="0" y="7060925"/>
                </a:lnTo>
              </a:path>
            </a:pathLst>
          </a:custGeom>
          <a:solidFill>
            <a:schemeClr val="bg1">
              <a:lumMod val="95000"/>
            </a:schemeClr>
          </a:solidFill>
          <a:ln w="28575">
            <a:solidFill>
              <a:srgbClr val="DCE6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dirty="0"/>
          </a:p>
        </p:txBody>
      </p:sp>
      <p:pic>
        <p:nvPicPr>
          <p:cNvPr id="14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990" y="5782322"/>
            <a:ext cx="2360060" cy="7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A30AC978-D681-4808-827B-66F98781BAAE}"/>
              </a:ext>
            </a:extLst>
          </p:cNvPr>
          <p:cNvSpPr/>
          <p:nvPr userDrawn="1"/>
        </p:nvSpPr>
        <p:spPr>
          <a:xfrm>
            <a:off x="10053130" y="4230947"/>
            <a:ext cx="1265085" cy="1238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6" descr="Facebook logo and symbol, meaning, history, PNG">
            <a:extLst>
              <a:ext uri="{FF2B5EF4-FFF2-40B4-BE49-F238E27FC236}">
                <a16:creationId xmlns:a16="http://schemas.microsoft.com/office/drawing/2014/main" id="{D6953F64-2EF5-4652-8143-A50399F0EB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7961" y="4214913"/>
            <a:ext cx="1815423" cy="127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ogo">
            <a:extLst>
              <a:ext uri="{FF2B5EF4-FFF2-40B4-BE49-F238E27FC236}">
                <a16:creationId xmlns:a16="http://schemas.microsoft.com/office/drawing/2014/main" id="{51AA0B0D-4249-4AFD-8B94-2EA64F33B9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98" y="6165925"/>
            <a:ext cx="1553301" cy="506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06130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182D1E7-33C8-4911-97EF-E269400E6501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9" name="Picture 2" descr="\\SONY\Users\Nivas\Desktop\analytic-edge\logo.png">
              <a:extLst>
                <a:ext uri="{FF2B5EF4-FFF2-40B4-BE49-F238E27FC236}">
                  <a16:creationId xmlns:a16="http://schemas.microsoft.com/office/drawing/2014/main" id="{70ECF28D-9ED1-4130-810F-BF36334F331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B9BE10-F4BE-4239-A1CD-D9B41EFC9C45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12" name="Rectangle 1">
                <a:extLst>
                  <a:ext uri="{FF2B5EF4-FFF2-40B4-BE49-F238E27FC236}">
                    <a16:creationId xmlns:a16="http://schemas.microsoft.com/office/drawing/2014/main" id="{A97356E1-CA4A-4D2D-A662-AE2A1325E852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7CA855A-4EAE-4495-BF53-D70498E46EF8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14" name="Freeform 10">
                  <a:extLst>
                    <a:ext uri="{FF2B5EF4-FFF2-40B4-BE49-F238E27FC236}">
                      <a16:creationId xmlns:a16="http://schemas.microsoft.com/office/drawing/2014/main" id="{09012B7E-D505-41CD-A9DB-A7AD80253D7A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" name="Freeform 11">
                  <a:extLst>
                    <a:ext uri="{FF2B5EF4-FFF2-40B4-BE49-F238E27FC236}">
                      <a16:creationId xmlns:a16="http://schemas.microsoft.com/office/drawing/2014/main" id="{CF712DE5-4B06-4C42-9A91-EF745F6CA988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3500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6"/>
            <a:ext cx="10972800" cy="7819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6BB854-E3A7-46D7-9DAD-C1C8B6A6E041}"/>
              </a:ext>
            </a:extLst>
          </p:cNvPr>
          <p:cNvSpPr/>
          <p:nvPr userDrawn="1"/>
        </p:nvSpPr>
        <p:spPr>
          <a:xfrm>
            <a:off x="11610094" y="6248400"/>
            <a:ext cx="581906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B043C6-9E4E-4094-AA6A-1DFBB0F7A78F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E41023E-13D4-42B3-8035-639594449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2F8354-9E89-4FB0-9D5A-7A0C3F378A47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24" name="Picture 2" descr="\\SONY\Users\Nivas\Desktop\analytic-edge\logo.png">
              <a:extLst>
                <a:ext uri="{FF2B5EF4-FFF2-40B4-BE49-F238E27FC236}">
                  <a16:creationId xmlns:a16="http://schemas.microsoft.com/office/drawing/2014/main" id="{6F30A324-6E72-4A68-8728-D46630EA17E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3DBE02F-00AD-4BCD-9662-74C209A98986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26" name="Rectangle 1">
                <a:extLst>
                  <a:ext uri="{FF2B5EF4-FFF2-40B4-BE49-F238E27FC236}">
                    <a16:creationId xmlns:a16="http://schemas.microsoft.com/office/drawing/2014/main" id="{6FB46412-BA9D-4716-8111-F4DBCE02DD8A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EE1FA035-07C0-4B27-9198-47262949B66E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28" name="Freeform 10">
                  <a:extLst>
                    <a:ext uri="{FF2B5EF4-FFF2-40B4-BE49-F238E27FC236}">
                      <a16:creationId xmlns:a16="http://schemas.microsoft.com/office/drawing/2014/main" id="{8D6207A7-5F7B-42FF-BDE5-668F3F9323C0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" name="Freeform 11">
                  <a:extLst>
                    <a:ext uri="{FF2B5EF4-FFF2-40B4-BE49-F238E27FC236}">
                      <a16:creationId xmlns:a16="http://schemas.microsoft.com/office/drawing/2014/main" id="{02D220F0-1AFE-4C54-93C9-2C4EE8059CC3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74538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3227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3684" y="1600203"/>
            <a:ext cx="6040967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7852" y="1600203"/>
            <a:ext cx="604308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10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2782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2013A88-9F14-4660-868E-353B60E301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1254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8C970-9E41-43C6-9FEC-568DA0E50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1DE21E-2ED4-48C2-B021-738CD20BD4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885548-FA50-40D2-946B-85CB6359E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27DC0-DF20-437C-B8A9-6C0B02AC7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89912-6183-430A-8CBF-E42A1235A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59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66C54-F6AD-4B29-B21E-BB361F581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0935A8-E1A7-4133-943D-E008818989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DF3AD3-EC88-4482-B46C-AF961586E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3E6502-1088-42FA-891D-8963ADFEF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55F874-D704-424A-84A4-A5D1A99AF0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26095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205D3-F740-40FE-8858-B1E72336E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888A25-BB89-40F1-B073-40CDD56311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A5C69-82AC-4B16-A3BC-542F7AEB8F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86DF51-4BF3-4D79-B9D5-37A6CDC12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F7AD-DC31-4800-AC1C-BD82DB00F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4C44E7-3B6C-4948-AEAB-BC238C065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47353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2B866-645E-4795-9F44-516208EA8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406DC5-FBEF-478B-86F8-AD22E490DD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244425-ABE2-444D-995A-44763B43C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28926-4366-4000-84FA-4CCB1C1E37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B050C0-3230-47A1-8A18-A30283DE6F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5C462E-9F7E-4D75-B639-1400926CB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E02EC06-D1D4-4683-8C4A-8F0610EF8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07BDCC-0F57-4B23-B47B-3484CBBB6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6643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3F08-8FCB-4A72-82BD-C2AA55BBE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852DA0-0E62-484F-9555-19018A8FA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C1A5DE-6285-4BAD-BB0D-DDCCF8244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047399-6673-4ABA-BCF6-FD2B39B74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5558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BD94D0-86DA-4941-A886-AC2DB539D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CC285A-2209-45C3-A71F-089336DB8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D9CE0B-6CB7-4CDC-9094-4D0DAFEB6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0635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8A1A3-FF97-4D88-A6BC-B39661271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6BA95-78C9-4D95-B376-D49018D4B3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8E9184-FE93-4F28-A2BC-D9896F823C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FCA73E-610C-45D3-B927-20D9684EA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714EB8-30C1-435E-A05F-C2BF1A275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935F4D-FA86-46D6-8A97-2EE10CA8B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4975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FECE6-97B0-41D3-91E5-5ACA2869B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43D604-3365-4F57-AE8C-0B9C8B0083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C4A9B3-9CE8-4BC9-BAFD-911933AED0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FF5714-A104-46E5-A422-36B37F3B0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260D18-93B2-46CC-9AB4-34FDC9D88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7DC328-3924-4C47-91A6-52D1E0824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63007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A52F3D-932D-45CD-A8AC-798AF0445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A14F44-E2A7-4BA6-B765-E390C8DFF6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C9C984-B552-486D-92A6-CB9281CC57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D7E9C6-A880-46F7-8EA0-6BAECF9BD958}" type="datetimeFigureOut">
              <a:rPr lang="en-IN" smtClean="0"/>
              <a:t>20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1F7DE-708B-4E3D-956F-A00925B62A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7EC34E-C9C7-4C76-8F72-701CBC7E34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8138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C6F2E6-ECCD-4D77-ABC8-33031DB8F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46058945"/>
              </p:ext>
            </p:extLst>
          </p:nvPr>
        </p:nvGraphicFramePr>
        <p:xfrm>
          <a:off x="1604" y="1588"/>
          <a:ext cx="160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C6F2E6-ECCD-4D77-ABC8-33031DB8F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04" y="1588"/>
                        <a:ext cx="160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00" y="6602667"/>
            <a:ext cx="2555300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45218" y="6602667"/>
            <a:ext cx="581838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305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79D0EFC-9F38-4737-9E75-42BC1330F3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B38B9CA-93DC-48A5-8347-2615F41B2B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1858529"/>
              </p:ext>
            </p:extLst>
          </p:nvPr>
        </p:nvGraphicFramePr>
        <p:xfrm>
          <a:off x="742122" y="2358888"/>
          <a:ext cx="10389948" cy="4426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2AF5001-76D5-4619-94CA-247F68E2F8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1858529"/>
              </p:ext>
            </p:extLst>
          </p:nvPr>
        </p:nvGraphicFramePr>
        <p:xfrm>
          <a:off x="894522" y="2511288"/>
          <a:ext cx="10389948" cy="4426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65617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A826767-134F-4208-940D-E213B6DC6B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3366738"/>
              </p:ext>
            </p:extLst>
          </p:nvPr>
        </p:nvGraphicFramePr>
        <p:xfrm>
          <a:off x="2531165" y="2457360"/>
          <a:ext cx="7925004" cy="3506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28C11A3-309C-4E1A-99A4-3417B13F15FA}"/>
              </a:ext>
            </a:extLst>
          </p:cNvPr>
          <p:cNvSpPr/>
          <p:nvPr/>
        </p:nvSpPr>
        <p:spPr>
          <a:xfrm>
            <a:off x="2954215" y="464234"/>
            <a:ext cx="3418450" cy="7174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dia</a:t>
            </a:r>
            <a:endParaRPr lang="en-IN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D2C3AF3-9A99-4D0D-8F1E-A0CFBEE06423}"/>
              </a:ext>
            </a:extLst>
          </p:cNvPr>
          <p:cNvSpPr/>
          <p:nvPr/>
        </p:nvSpPr>
        <p:spPr>
          <a:xfrm>
            <a:off x="2954214" y="2277539"/>
            <a:ext cx="7687485" cy="3685939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0866294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A826767-134F-4208-940D-E213B6DC6B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8029232"/>
              </p:ext>
            </p:extLst>
          </p:nvPr>
        </p:nvGraphicFramePr>
        <p:xfrm>
          <a:off x="2637183" y="2419643"/>
          <a:ext cx="8377819" cy="3784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F976077-A9DD-480A-A586-1A03DD728A95}"/>
              </a:ext>
            </a:extLst>
          </p:cNvPr>
          <p:cNvSpPr/>
          <p:nvPr/>
        </p:nvSpPr>
        <p:spPr>
          <a:xfrm>
            <a:off x="2377440" y="534572"/>
            <a:ext cx="3418450" cy="7174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mo</a:t>
            </a:r>
            <a:endParaRPr lang="en-IN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2BB96A-486A-49E2-A7D7-6E7936EC3754}"/>
              </a:ext>
            </a:extLst>
          </p:cNvPr>
          <p:cNvSpPr/>
          <p:nvPr/>
        </p:nvSpPr>
        <p:spPr>
          <a:xfrm>
            <a:off x="2954214" y="2277539"/>
            <a:ext cx="7687485" cy="3685939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42763888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Drivers of Change – Activa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F9FC1-9961-45CE-9E0B-E756C1F63004}"/>
              </a:ext>
            </a:extLst>
          </p:cNvPr>
          <p:cNvSpPr txBox="1"/>
          <p:nvPr/>
        </p:nvSpPr>
        <p:spPr>
          <a:xfrm>
            <a:off x="228599" y="6219407"/>
            <a:ext cx="1165859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–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Q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01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0–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31</a:t>
            </a:r>
            <a:r>
              <a:rPr lang="en-US" sz="1000" baseline="30000" dirty="0">
                <a:solidFill>
                  <a:prstClr val="black"/>
                </a:solidFill>
                <a:latin typeface="Calibri"/>
              </a:rPr>
              <a:t>st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M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0)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&amp;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Q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01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–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31</a:t>
            </a:r>
            <a:r>
              <a:rPr lang="en-US" sz="1000" baseline="30000" dirty="0">
                <a:solidFill>
                  <a:prstClr val="black"/>
                </a:solidFill>
                <a:latin typeface="Calibri"/>
              </a:rPr>
              <a:t>st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M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BDA54C-4B5F-4370-90CF-ECFD7640CD47}"/>
              </a:ext>
            </a:extLst>
          </p:cNvPr>
          <p:cNvSpPr txBox="1"/>
          <p:nvPr/>
        </p:nvSpPr>
        <p:spPr>
          <a:xfrm>
            <a:off x="180643" y="556360"/>
            <a:ext cx="1175450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Activ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decreas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-9.4%) in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1</a:t>
            </a:r>
            <a:r>
              <a:rPr kumimoji="0" lang="en-US" sz="14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0) vs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1) was driven largely by decrease in Referrals &amp; Facebook spend in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 2021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was a key to stem the large negative effect from  covid-19 pandemic.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offset the large negative impact coming from Referrals &amp; Facebook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0C457F-7F92-4C55-BA3D-B9FB646CCAA0}"/>
              </a:ext>
            </a:extLst>
          </p:cNvPr>
          <p:cNvGrpSpPr/>
          <p:nvPr/>
        </p:nvGrpSpPr>
        <p:grpSpPr>
          <a:xfrm>
            <a:off x="180643" y="2438093"/>
            <a:ext cx="11094912" cy="3816299"/>
            <a:chOff x="2277196" y="1332763"/>
            <a:chExt cx="7043937" cy="5565838"/>
          </a:xfrm>
        </p:grpSpPr>
        <p:graphicFrame>
          <p:nvGraphicFramePr>
            <p:cNvPr id="10" name="Content Placeholder 3">
              <a:extLst>
                <a:ext uri="{FF2B5EF4-FFF2-40B4-BE49-F238E27FC236}">
                  <a16:creationId xmlns:a16="http://schemas.microsoft.com/office/drawing/2014/main" id="{20C3220A-A4F2-4E36-9F16-619C1F76DEE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02824733"/>
                </p:ext>
              </p:extLst>
            </p:nvPr>
          </p:nvGraphicFramePr>
          <p:xfrm>
            <a:off x="2277196" y="1786482"/>
            <a:ext cx="7043937" cy="51121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4689CCC-321C-46F8-BA4C-7A4789D4DA02}"/>
                </a:ext>
              </a:extLst>
            </p:cNvPr>
            <p:cNvCxnSpPr>
              <a:cxnSpLocks/>
            </p:cNvCxnSpPr>
            <p:nvPr/>
          </p:nvCxnSpPr>
          <p:spPr>
            <a:xfrm>
              <a:off x="9031884" y="1743044"/>
              <a:ext cx="0" cy="259949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087DD25-7AC5-4E3A-B8C3-19773384B8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87091" y="1743045"/>
              <a:ext cx="64447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">
              <a:extLst>
                <a:ext uri="{FF2B5EF4-FFF2-40B4-BE49-F238E27FC236}">
                  <a16:creationId xmlns:a16="http://schemas.microsoft.com/office/drawing/2014/main" id="{C004B172-F43B-4ED2-ACA0-92BD285791A7}"/>
                </a:ext>
              </a:extLst>
            </p:cNvPr>
            <p:cNvSpPr txBox="1"/>
            <p:nvPr/>
          </p:nvSpPr>
          <p:spPr>
            <a:xfrm>
              <a:off x="5314032" y="1332763"/>
              <a:ext cx="1033214" cy="82056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  <a:prstDash val="dash"/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B050"/>
                  </a:solidFill>
                  <a:latin typeface="Calibri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>
                  <a:solidFill>
                    <a:srgbClr val="FF0000"/>
                  </a:solidFill>
                </a:rPr>
                <a:t>-70.9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8C90FD7-7642-4476-9A14-14060FE167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091" y="1743044"/>
              <a:ext cx="0" cy="82827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B9BE7ADE-E271-4BED-9766-03F0572885C6}"/>
              </a:ext>
            </a:extLst>
          </p:cNvPr>
          <p:cNvSpPr txBox="1"/>
          <p:nvPr/>
        </p:nvSpPr>
        <p:spPr>
          <a:xfrm>
            <a:off x="1400596" y="2119311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itive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C1C27A-11FF-45EB-8453-A3BB8D89FBBB}"/>
              </a:ext>
            </a:extLst>
          </p:cNvPr>
          <p:cNvSpPr txBox="1"/>
          <p:nvPr/>
        </p:nvSpPr>
        <p:spPr>
          <a:xfrm>
            <a:off x="7977805" y="6219407"/>
            <a:ext cx="39093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Others = Unexplained growth not captured by any existing drivers</a:t>
            </a:r>
            <a:endParaRPr kumimoji="0" lang="en-I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1870D0-793B-4AB7-9CAC-2208A33BE9FB}"/>
              </a:ext>
            </a:extLst>
          </p:cNvPr>
          <p:cNvSpPr txBox="1"/>
          <p:nvPr/>
        </p:nvSpPr>
        <p:spPr>
          <a:xfrm>
            <a:off x="7323218" y="2159143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Negativ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CC8CE2-4DFC-4730-8896-3F03A29A2381}"/>
              </a:ext>
            </a:extLst>
          </p:cNvPr>
          <p:cNvSpPr/>
          <p:nvPr/>
        </p:nvSpPr>
        <p:spPr>
          <a:xfrm>
            <a:off x="2068104" y="443447"/>
            <a:ext cx="3564835" cy="1058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1 21 vs Q1 20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13212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2592699"/>
              </p:ext>
            </p:extLst>
          </p:nvPr>
        </p:nvGraphicFramePr>
        <p:xfrm>
          <a:off x="7871067" y="1116330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3688114"/>
              </p:ext>
            </p:extLst>
          </p:nvPr>
        </p:nvGraphicFramePr>
        <p:xfrm>
          <a:off x="5004157" y="1116330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Promo Summary – Activations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3308603"/>
              </p:ext>
            </p:extLst>
          </p:nvPr>
        </p:nvGraphicFramePr>
        <p:xfrm>
          <a:off x="1568474" y="1116330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1906223" y="1127499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</a:t>
            </a:r>
            <a:r>
              <a:rPr lang="en-IN" sz="1200" b="1" dirty="0"/>
              <a:t>EUR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7117596" y="1127499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C (EUR)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US" sz="1200" b="1" dirty="0"/>
              <a:t>Spend/activations from mod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5071194" y="1127499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ontribution</a:t>
            </a:r>
          </a:p>
          <a:p>
            <a:pPr algn="ctr" defTabSz="905256">
              <a:defRPr/>
            </a:pPr>
            <a:r>
              <a:rPr lang="en-IN" sz="1200" b="1" dirty="0"/>
              <a:t>(in % 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8F9198C-40DC-4AB5-8D29-0FA0C1E70187}"/>
              </a:ext>
            </a:extLst>
          </p:cNvPr>
          <p:cNvSpPr txBox="1"/>
          <p:nvPr/>
        </p:nvSpPr>
        <p:spPr>
          <a:xfrm>
            <a:off x="2024444" y="5713753"/>
            <a:ext cx="250181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otal – </a:t>
            </a:r>
            <a:r>
              <a:rPr lang="en-IN" sz="1200" b="1" dirty="0"/>
              <a:t>6,278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0B415E-40C5-4841-9D86-6F5AB7D12F23}"/>
              </a:ext>
            </a:extLst>
          </p:cNvPr>
          <p:cNvSpPr txBox="1"/>
          <p:nvPr/>
        </p:nvSpPr>
        <p:spPr>
          <a:xfrm>
            <a:off x="5004157" y="5713753"/>
            <a:ext cx="250181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otal – 18.1%</a:t>
            </a:r>
            <a:r>
              <a:rPr lang="en-IN" sz="1200" b="1" dirty="0"/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C8C6523-8FA2-48F0-8B96-569382DDE8D3}"/>
              </a:ext>
            </a:extLst>
          </p:cNvPr>
          <p:cNvSpPr txBox="1"/>
          <p:nvPr/>
        </p:nvSpPr>
        <p:spPr>
          <a:xfrm>
            <a:off x="7780139" y="5713754"/>
            <a:ext cx="250181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otal – 15.</a:t>
            </a:r>
            <a:r>
              <a:rPr lang="en-IN" sz="1200" b="1" dirty="0"/>
              <a:t>5 </a:t>
            </a:r>
          </a:p>
        </p:txBody>
      </p:sp>
    </p:spTree>
    <p:extLst>
      <p:ext uri="{BB962C8B-B14F-4D97-AF65-F5344CB8AC3E}">
        <p14:creationId xmlns:p14="http://schemas.microsoft.com/office/powerpoint/2010/main" val="1200958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8777831"/>
              </p:ext>
            </p:extLst>
          </p:nvPr>
        </p:nvGraphicFramePr>
        <p:xfrm>
          <a:off x="4804783" y="1204224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2365102"/>
              </p:ext>
            </p:extLst>
          </p:nvPr>
        </p:nvGraphicFramePr>
        <p:xfrm>
          <a:off x="7671693" y="1204224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Media Summary – Activations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1097690"/>
              </p:ext>
            </p:extLst>
          </p:nvPr>
        </p:nvGraphicFramePr>
        <p:xfrm>
          <a:off x="1369100" y="1204224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1706849" y="1215393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</a:t>
            </a:r>
            <a:r>
              <a:rPr lang="en-IN" sz="1200" b="1" dirty="0"/>
              <a:t>EUR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6918222" y="1215393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C (EUR)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US" sz="1200" b="1" dirty="0"/>
              <a:t>Spend/activations from mod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4871820" y="1215393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ontribution</a:t>
            </a:r>
          </a:p>
          <a:p>
            <a:pPr algn="ctr" defTabSz="905256">
              <a:defRPr/>
            </a:pPr>
            <a:r>
              <a:rPr lang="en-IN" sz="1200" b="1" dirty="0"/>
              <a:t>(in % 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2EB29F2-E6A0-4AF9-BDFD-B62C33BC50C2}"/>
              </a:ext>
            </a:extLst>
          </p:cNvPr>
          <p:cNvSpPr txBox="1"/>
          <p:nvPr/>
        </p:nvSpPr>
        <p:spPr>
          <a:xfrm>
            <a:off x="1813429" y="5732632"/>
            <a:ext cx="250181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otal – 27,122</a:t>
            </a:r>
            <a:r>
              <a:rPr lang="en-IN" sz="1200" b="1" dirty="0"/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012F177-4ED1-4AF2-8454-691AB641953F}"/>
              </a:ext>
            </a:extLst>
          </p:cNvPr>
          <p:cNvSpPr txBox="1"/>
          <p:nvPr/>
        </p:nvSpPr>
        <p:spPr>
          <a:xfrm>
            <a:off x="4804783" y="5729883"/>
            <a:ext cx="250181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otal – 49.9%</a:t>
            </a:r>
            <a:r>
              <a:rPr lang="en-IN" sz="1200" b="1" dirty="0"/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29C8BEC-784E-4EC7-A716-0DE58B58599F}"/>
              </a:ext>
            </a:extLst>
          </p:cNvPr>
          <p:cNvSpPr txBox="1"/>
          <p:nvPr/>
        </p:nvSpPr>
        <p:spPr>
          <a:xfrm>
            <a:off x="7671693" y="5729882"/>
            <a:ext cx="250181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otal – 24.3</a:t>
            </a:r>
            <a:r>
              <a:rPr lang="en-IN" sz="1200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710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339601F-01D7-4474-B94B-26A41B5FD0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33563"/>
              </p:ext>
            </p:extLst>
          </p:nvPr>
        </p:nvGraphicFramePr>
        <p:xfrm>
          <a:off x="1101725" y="2057400"/>
          <a:ext cx="816927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270603-AF13-4633-9FC8-66534276A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DE4952-979B-45EF-8992-9471F7144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99460B-9456-4FC8-90F9-CE4E63CFE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FC2029-0E99-407E-A670-C815BD62FB45}"/>
              </a:ext>
            </a:extLst>
          </p:cNvPr>
          <p:cNvCxnSpPr>
            <a:cxnSpLocks/>
          </p:cNvCxnSpPr>
          <p:nvPr/>
        </p:nvCxnSpPr>
        <p:spPr>
          <a:xfrm>
            <a:off x="7558157" y="2413206"/>
            <a:ext cx="0" cy="147634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169D9E-54C9-4A5D-B69A-FF457B73BCC0}"/>
              </a:ext>
            </a:extLst>
          </p:cNvPr>
          <p:cNvCxnSpPr/>
          <p:nvPr/>
        </p:nvCxnSpPr>
        <p:spPr>
          <a:xfrm>
            <a:off x="11873014" y="2354123"/>
            <a:ext cx="0" cy="16764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0072B70-440A-4626-AC1F-193C3B7D1049}"/>
              </a:ext>
            </a:extLst>
          </p:cNvPr>
          <p:cNvSpPr txBox="1"/>
          <p:nvPr/>
        </p:nvSpPr>
        <p:spPr>
          <a:xfrm>
            <a:off x="7799107" y="2213151"/>
            <a:ext cx="10774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 dirty="0">
                <a:solidFill>
                  <a:prstClr val="black"/>
                </a:solidFill>
                <a:latin typeface="Calibri"/>
              </a:rPr>
              <a:t>Holdou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 dirty="0">
                <a:solidFill>
                  <a:prstClr val="black"/>
                </a:solidFill>
                <a:latin typeface="Calibri"/>
              </a:rPr>
              <a:t>Period</a:t>
            </a:r>
            <a:endParaRPr kumimoji="0" lang="en-I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B4619A1-7A2E-472C-8396-2578AE46464B}"/>
              </a:ext>
            </a:extLst>
          </p:cNvPr>
          <p:cNvCxnSpPr>
            <a:cxnSpLocks/>
          </p:cNvCxnSpPr>
          <p:nvPr/>
        </p:nvCxnSpPr>
        <p:spPr>
          <a:xfrm>
            <a:off x="7616364" y="2613261"/>
            <a:ext cx="1442933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347FFB9-DB7F-495D-BD3F-9DF5D971FB2E}"/>
              </a:ext>
            </a:extLst>
          </p:cNvPr>
          <p:cNvCxnSpPr>
            <a:cxnSpLocks/>
          </p:cNvCxnSpPr>
          <p:nvPr/>
        </p:nvCxnSpPr>
        <p:spPr>
          <a:xfrm>
            <a:off x="9120257" y="2413206"/>
            <a:ext cx="0" cy="147634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EEC965F-F857-47E9-9B7B-4F8B9FD8D74F}"/>
              </a:ext>
            </a:extLst>
          </p:cNvPr>
          <p:cNvSpPr/>
          <p:nvPr/>
        </p:nvSpPr>
        <p:spPr>
          <a:xfrm>
            <a:off x="1054982" y="1871870"/>
            <a:ext cx="8216015" cy="292873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38831397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EF4F96D8-E70E-41B2-A0B9-FF2349AD25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5878829"/>
              </p:ext>
            </p:extLst>
          </p:nvPr>
        </p:nvGraphicFramePr>
        <p:xfrm>
          <a:off x="1184812" y="2051484"/>
          <a:ext cx="7956353" cy="2569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270603-AF13-4633-9FC8-66534276A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DE4952-979B-45EF-8992-9471F7144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99460B-9456-4FC8-90F9-CE4E63CFE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FC2029-0E99-407E-A670-C815BD62FB45}"/>
              </a:ext>
            </a:extLst>
          </p:cNvPr>
          <p:cNvCxnSpPr>
            <a:cxnSpLocks/>
          </p:cNvCxnSpPr>
          <p:nvPr/>
        </p:nvCxnSpPr>
        <p:spPr>
          <a:xfrm>
            <a:off x="8337829" y="2583719"/>
            <a:ext cx="0" cy="121720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169D9E-54C9-4A5D-B69A-FF457B73BCC0}"/>
              </a:ext>
            </a:extLst>
          </p:cNvPr>
          <p:cNvCxnSpPr/>
          <p:nvPr/>
        </p:nvCxnSpPr>
        <p:spPr>
          <a:xfrm>
            <a:off x="11873014" y="2354123"/>
            <a:ext cx="0" cy="16764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0072B70-440A-4626-AC1F-193C3B7D1049}"/>
              </a:ext>
            </a:extLst>
          </p:cNvPr>
          <p:cNvSpPr txBox="1"/>
          <p:nvPr/>
        </p:nvSpPr>
        <p:spPr>
          <a:xfrm>
            <a:off x="8162217" y="2221008"/>
            <a:ext cx="10774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 dirty="0">
                <a:solidFill>
                  <a:prstClr val="black"/>
                </a:solidFill>
                <a:latin typeface="Calibri"/>
              </a:rPr>
              <a:t>Holdou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 dirty="0">
                <a:solidFill>
                  <a:prstClr val="black"/>
                </a:solidFill>
                <a:latin typeface="Calibri"/>
              </a:rPr>
              <a:t>Period</a:t>
            </a:r>
            <a:endParaRPr kumimoji="0" lang="en-I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B4619A1-7A2E-472C-8396-2578AE46464B}"/>
              </a:ext>
            </a:extLst>
          </p:cNvPr>
          <p:cNvCxnSpPr>
            <a:cxnSpLocks/>
          </p:cNvCxnSpPr>
          <p:nvPr/>
        </p:nvCxnSpPr>
        <p:spPr>
          <a:xfrm>
            <a:off x="8393105" y="2613261"/>
            <a:ext cx="615671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EEC965F-F857-47E9-9B7B-4F8B9FD8D74F}"/>
              </a:ext>
            </a:extLst>
          </p:cNvPr>
          <p:cNvSpPr/>
          <p:nvPr/>
        </p:nvSpPr>
        <p:spPr>
          <a:xfrm>
            <a:off x="1054982" y="1871870"/>
            <a:ext cx="8216015" cy="292873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950C0CB-3A2B-4372-89EF-BE1C899E639B}"/>
              </a:ext>
            </a:extLst>
          </p:cNvPr>
          <p:cNvCxnSpPr>
            <a:cxnSpLocks/>
          </p:cNvCxnSpPr>
          <p:nvPr/>
        </p:nvCxnSpPr>
        <p:spPr>
          <a:xfrm>
            <a:off x="9053226" y="2583718"/>
            <a:ext cx="0" cy="121720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65526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ADE7D6-36F4-448E-BD2B-4395C0C17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664F02-451C-4A4B-BB65-F8DB0291B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47BDC6-F6E3-445D-9C5D-A8B1F80450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4485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Drivers of Change – Activa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F9FC1-9961-45CE-9E0B-E756C1F63004}"/>
              </a:ext>
            </a:extLst>
          </p:cNvPr>
          <p:cNvSpPr txBox="1"/>
          <p:nvPr/>
        </p:nvSpPr>
        <p:spPr>
          <a:xfrm>
            <a:off x="228599" y="6219407"/>
            <a:ext cx="1165859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– 1st Half (01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)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&amp;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nd Half (01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 – Analytic-Edge Mode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BDA54C-4B5F-4370-90CF-ECFD7640CD47}"/>
              </a:ext>
            </a:extLst>
          </p:cNvPr>
          <p:cNvSpPr txBox="1"/>
          <p:nvPr/>
        </p:nvSpPr>
        <p:spPr>
          <a:xfrm>
            <a:off x="180643" y="556360"/>
            <a:ext cx="1175450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Activ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decreas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-9.4%) in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1</a:t>
            </a:r>
            <a:r>
              <a:rPr kumimoji="0" lang="en-US" sz="14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0) vs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1) was driven largely by decrease in Referrals &amp; Facebook spend in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 2021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was a key to stem the large negative effect from  covid-19 pandemic.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offset the large negative impact coming from Referrals &amp; Facebook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0C457F-7F92-4C55-BA3D-B9FB646CCAA0}"/>
              </a:ext>
            </a:extLst>
          </p:cNvPr>
          <p:cNvGrpSpPr/>
          <p:nvPr/>
        </p:nvGrpSpPr>
        <p:grpSpPr>
          <a:xfrm>
            <a:off x="180643" y="2423933"/>
            <a:ext cx="11094912" cy="3816299"/>
            <a:chOff x="2277196" y="1332763"/>
            <a:chExt cx="7043937" cy="5565838"/>
          </a:xfrm>
        </p:grpSpPr>
        <p:graphicFrame>
          <p:nvGraphicFramePr>
            <p:cNvPr id="10" name="Content Placeholder 3">
              <a:extLst>
                <a:ext uri="{FF2B5EF4-FFF2-40B4-BE49-F238E27FC236}">
                  <a16:creationId xmlns:a16="http://schemas.microsoft.com/office/drawing/2014/main" id="{20C3220A-A4F2-4E36-9F16-619C1F76DEE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98296241"/>
                </p:ext>
              </p:extLst>
            </p:nvPr>
          </p:nvGraphicFramePr>
          <p:xfrm>
            <a:off x="2277196" y="1786482"/>
            <a:ext cx="7043937" cy="51121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4689CCC-321C-46F8-BA4C-7A4789D4DA02}"/>
                </a:ext>
              </a:extLst>
            </p:cNvPr>
            <p:cNvCxnSpPr>
              <a:cxnSpLocks/>
            </p:cNvCxnSpPr>
            <p:nvPr/>
          </p:nvCxnSpPr>
          <p:spPr>
            <a:xfrm>
              <a:off x="9031884" y="1743044"/>
              <a:ext cx="0" cy="165655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087DD25-7AC5-4E3A-B8C3-19773384B8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87091" y="1743045"/>
              <a:ext cx="64447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">
              <a:extLst>
                <a:ext uri="{FF2B5EF4-FFF2-40B4-BE49-F238E27FC236}">
                  <a16:creationId xmlns:a16="http://schemas.microsoft.com/office/drawing/2014/main" id="{C004B172-F43B-4ED2-ACA0-92BD285791A7}"/>
                </a:ext>
              </a:extLst>
            </p:cNvPr>
            <p:cNvSpPr txBox="1"/>
            <p:nvPr/>
          </p:nvSpPr>
          <p:spPr>
            <a:xfrm>
              <a:off x="5314032" y="1332763"/>
              <a:ext cx="1033214" cy="82056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  <a:prstDash val="dash"/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B050"/>
                  </a:solidFill>
                  <a:latin typeface="Calibri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>
                  <a:solidFill>
                    <a:srgbClr val="FF0000"/>
                  </a:solidFill>
                </a:rPr>
                <a:t>-9.4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8C90FD7-7642-4476-9A14-14060FE167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091" y="1743044"/>
              <a:ext cx="0" cy="158824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B9BE7ADE-E271-4BED-9766-03F0572885C6}"/>
              </a:ext>
            </a:extLst>
          </p:cNvPr>
          <p:cNvSpPr txBox="1"/>
          <p:nvPr/>
        </p:nvSpPr>
        <p:spPr>
          <a:xfrm>
            <a:off x="1400596" y="2119311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itive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C1C27A-11FF-45EB-8453-A3BB8D89FBBB}"/>
              </a:ext>
            </a:extLst>
          </p:cNvPr>
          <p:cNvSpPr txBox="1"/>
          <p:nvPr/>
        </p:nvSpPr>
        <p:spPr>
          <a:xfrm>
            <a:off x="8282609" y="6361044"/>
            <a:ext cx="39093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Others = Unexplained growth not captured by any existing drivers</a:t>
            </a:r>
            <a:endParaRPr kumimoji="0" lang="en-I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1870D0-793B-4AB7-9CAC-2208A33BE9FB}"/>
              </a:ext>
            </a:extLst>
          </p:cNvPr>
          <p:cNvSpPr txBox="1"/>
          <p:nvPr/>
        </p:nvSpPr>
        <p:spPr>
          <a:xfrm>
            <a:off x="7323218" y="2159143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Negativ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5780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Drivers of Change – Activa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F9FC1-9961-45CE-9E0B-E756C1F63004}"/>
              </a:ext>
            </a:extLst>
          </p:cNvPr>
          <p:cNvSpPr txBox="1"/>
          <p:nvPr/>
        </p:nvSpPr>
        <p:spPr>
          <a:xfrm>
            <a:off x="228599" y="6219407"/>
            <a:ext cx="1165859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–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Q2 TD 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 Apr 2020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0)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&amp;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Q2 T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01 Apr 2021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BDA54C-4B5F-4370-90CF-ECFD7640CD47}"/>
              </a:ext>
            </a:extLst>
          </p:cNvPr>
          <p:cNvSpPr txBox="1"/>
          <p:nvPr/>
        </p:nvSpPr>
        <p:spPr>
          <a:xfrm>
            <a:off x="180643" y="556360"/>
            <a:ext cx="1175450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Activ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decreas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-9.4%) in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1</a:t>
            </a:r>
            <a:r>
              <a:rPr kumimoji="0" lang="en-US" sz="14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0) vs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1) was driven largely by decrease in Referrals &amp; Facebook spend in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 2021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was a key to stem the large negative effect from  covid-19 pandemic.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offset the large negative impact coming from Referrals &amp; Facebook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0C457F-7F92-4C55-BA3D-B9FB646CCAA0}"/>
              </a:ext>
            </a:extLst>
          </p:cNvPr>
          <p:cNvGrpSpPr/>
          <p:nvPr/>
        </p:nvGrpSpPr>
        <p:grpSpPr>
          <a:xfrm>
            <a:off x="180643" y="2438093"/>
            <a:ext cx="11094912" cy="3816299"/>
            <a:chOff x="2277196" y="1332763"/>
            <a:chExt cx="7043937" cy="5565838"/>
          </a:xfrm>
        </p:grpSpPr>
        <p:graphicFrame>
          <p:nvGraphicFramePr>
            <p:cNvPr id="10" name="Content Placeholder 3">
              <a:extLst>
                <a:ext uri="{FF2B5EF4-FFF2-40B4-BE49-F238E27FC236}">
                  <a16:creationId xmlns:a16="http://schemas.microsoft.com/office/drawing/2014/main" id="{20C3220A-A4F2-4E36-9F16-619C1F76DEE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92818316"/>
                </p:ext>
              </p:extLst>
            </p:nvPr>
          </p:nvGraphicFramePr>
          <p:xfrm>
            <a:off x="2277196" y="1786482"/>
            <a:ext cx="7043937" cy="51121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4689CCC-321C-46F8-BA4C-7A4789D4DA02}"/>
                </a:ext>
              </a:extLst>
            </p:cNvPr>
            <p:cNvCxnSpPr>
              <a:cxnSpLocks/>
            </p:cNvCxnSpPr>
            <p:nvPr/>
          </p:nvCxnSpPr>
          <p:spPr>
            <a:xfrm>
              <a:off x="9031884" y="1743044"/>
              <a:ext cx="0" cy="113551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087DD25-7AC5-4E3A-B8C3-19773384B8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87091" y="1743045"/>
              <a:ext cx="64447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">
              <a:extLst>
                <a:ext uri="{FF2B5EF4-FFF2-40B4-BE49-F238E27FC236}">
                  <a16:creationId xmlns:a16="http://schemas.microsoft.com/office/drawing/2014/main" id="{C004B172-F43B-4ED2-ACA0-92BD285791A7}"/>
                </a:ext>
              </a:extLst>
            </p:cNvPr>
            <p:cNvSpPr txBox="1"/>
            <p:nvPr/>
          </p:nvSpPr>
          <p:spPr>
            <a:xfrm>
              <a:off x="5314032" y="1332763"/>
              <a:ext cx="1033214" cy="82056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B050"/>
              </a:solidFill>
              <a:prstDash val="dash"/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B050"/>
                  </a:solidFill>
                  <a:latin typeface="Calibri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+688.</a:t>
              </a:r>
              <a:r>
                <a:rPr lang="en-US" sz="2000" dirty="0"/>
                <a:t>2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8C90FD7-7642-4476-9A14-14060FE167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091" y="1743044"/>
              <a:ext cx="0" cy="227103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B9BE7ADE-E271-4BED-9766-03F0572885C6}"/>
              </a:ext>
            </a:extLst>
          </p:cNvPr>
          <p:cNvSpPr txBox="1"/>
          <p:nvPr/>
        </p:nvSpPr>
        <p:spPr>
          <a:xfrm>
            <a:off x="1400596" y="2119311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itive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C1C27A-11FF-45EB-8453-A3BB8D89FBBB}"/>
              </a:ext>
            </a:extLst>
          </p:cNvPr>
          <p:cNvSpPr txBox="1"/>
          <p:nvPr/>
        </p:nvSpPr>
        <p:spPr>
          <a:xfrm>
            <a:off x="7818376" y="6196015"/>
            <a:ext cx="39093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Others = Unexplained growth not captured by any existing drivers</a:t>
            </a:r>
            <a:endParaRPr kumimoji="0" lang="en-I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CC8CE2-4DFC-4730-8896-3F03A29A2381}"/>
              </a:ext>
            </a:extLst>
          </p:cNvPr>
          <p:cNvSpPr/>
          <p:nvPr/>
        </p:nvSpPr>
        <p:spPr>
          <a:xfrm>
            <a:off x="2068104" y="443447"/>
            <a:ext cx="3564835" cy="1058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2 TD 21 vs Q2 TD 20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33230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EE00EE1-6DF3-423D-824A-094CBD41462A}"/>
              </a:ext>
            </a:extLst>
          </p:cNvPr>
          <p:cNvSpPr/>
          <p:nvPr/>
        </p:nvSpPr>
        <p:spPr>
          <a:xfrm>
            <a:off x="2093844" y="1908313"/>
            <a:ext cx="8004314" cy="29287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D7096CB-8516-4FAD-B2C0-06FD3CB2AF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2253065"/>
              </p:ext>
            </p:extLst>
          </p:nvPr>
        </p:nvGraphicFramePr>
        <p:xfrm>
          <a:off x="2372139" y="2014330"/>
          <a:ext cx="7499901" cy="2786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B55E7B3-5D62-4CC6-9160-2F88361F8918}"/>
              </a:ext>
            </a:extLst>
          </p:cNvPr>
          <p:cNvSpPr txBox="1"/>
          <p:nvPr/>
        </p:nvSpPr>
        <p:spPr>
          <a:xfrm>
            <a:off x="8325111" y="2170406"/>
            <a:ext cx="1659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highlight>
                  <a:srgbClr val="C0C0C0"/>
                </a:highlight>
              </a:rPr>
              <a:t>R2: 71.7%</a:t>
            </a:r>
          </a:p>
          <a:p>
            <a:r>
              <a:rPr lang="en-US" sz="1400" dirty="0">
                <a:highlight>
                  <a:srgbClr val="C0C0C0"/>
                </a:highlight>
              </a:rPr>
              <a:t>MAPE:33.12%</a:t>
            </a:r>
            <a:endParaRPr lang="en-IN" sz="1400" dirty="0">
              <a:highlight>
                <a:srgbClr val="C0C0C0"/>
              </a:highligh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EE105A-9A40-41E0-8C1D-9C54807FB9A3}"/>
              </a:ext>
            </a:extLst>
          </p:cNvPr>
          <p:cNvSpPr/>
          <p:nvPr/>
        </p:nvSpPr>
        <p:spPr>
          <a:xfrm>
            <a:off x="2093842" y="278297"/>
            <a:ext cx="5764696" cy="11264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se Mod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817496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270603-AF13-4633-9FC8-66534276A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DE4952-979B-45EF-8992-9471F7144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99460B-9456-4FC8-90F9-CE4E63CFE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7E0A4C7-8D63-47BF-B09A-4CB6474D19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4139953"/>
              </p:ext>
            </p:extLst>
          </p:nvPr>
        </p:nvGraphicFramePr>
        <p:xfrm>
          <a:off x="2247900" y="1852391"/>
          <a:ext cx="6019800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413441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/>
        </p:nvGraphicFramePr>
        <p:xfrm>
          <a:off x="357094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/>
        </p:nvGraphicFramePr>
        <p:xfrm>
          <a:off x="643785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Media Summary – Activations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/>
        </p:nvGraphicFramePr>
        <p:xfrm>
          <a:off x="135261" y="1900448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473010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</a:t>
            </a:r>
            <a:r>
              <a:rPr lang="en-IN" sz="1200" b="1" dirty="0"/>
              <a:t>EUR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5684383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C (EUR)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US" sz="1200" b="1" dirty="0"/>
              <a:t>Spend/activations from mod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3637981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ontribution</a:t>
            </a:r>
          </a:p>
          <a:p>
            <a:pPr algn="ctr" defTabSz="905256">
              <a:defRPr/>
            </a:pPr>
            <a:r>
              <a:rPr lang="en-IN" sz="1200" b="1" dirty="0"/>
              <a:t>(in % 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A16955-5230-4DEB-9AA5-431A4D611A80}"/>
              </a:ext>
            </a:extLst>
          </p:cNvPr>
          <p:cNvSpPr/>
          <p:nvPr/>
        </p:nvSpPr>
        <p:spPr>
          <a:xfrm>
            <a:off x="622458" y="5353757"/>
            <a:ext cx="8839042" cy="716844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66923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Media Summary – Revenue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B6A6CA-9402-4569-B832-769BE7826DE7}"/>
              </a:ext>
            </a:extLst>
          </p:cNvPr>
          <p:cNvSpPr txBox="1"/>
          <p:nvPr/>
        </p:nvSpPr>
        <p:spPr>
          <a:xfrm>
            <a:off x="146539" y="756947"/>
            <a:ext cx="1175450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indent="-1158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otal Media ROI was 0.85 $ which was significantly lower than break-even (1.0)</a:t>
            </a:r>
          </a:p>
          <a:p>
            <a:pPr marL="115888" indent="-1158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mong the largest media spend channels, Facebook has a higher ROI 1.08 $ relative to Display Network 0.54 $ in the Nov’19-Oct’20 time period</a:t>
            </a:r>
          </a:p>
          <a:p>
            <a:pPr marL="115888" indent="-1158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 healthy ROI from YouTube, Non-Social Display, Apple Search &amp; Non-Social video even though the investment is relatively smaller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/>
        </p:nvGraphicFramePr>
        <p:xfrm>
          <a:off x="135261" y="1900448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473010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USD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5684383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ffectiveness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Revenue per 1,000 Impression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3346263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PM</a:t>
            </a:r>
          </a:p>
          <a:p>
            <a:pPr algn="ctr" defTabSz="905256">
              <a:defRPr/>
            </a:pPr>
            <a:r>
              <a:rPr lang="en-IN" sz="1200" b="1" dirty="0"/>
              <a:t>(Cost Per 000’s USD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B2EBDB-6998-4F4E-B5A0-09A1ACA93CCB}"/>
              </a:ext>
            </a:extLst>
          </p:cNvPr>
          <p:cNvSpPr txBox="1"/>
          <p:nvPr/>
        </p:nvSpPr>
        <p:spPr>
          <a:xfrm>
            <a:off x="8402780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OI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Revenue per 1 USD spent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A16955-5230-4DEB-9AA5-431A4D611A80}"/>
              </a:ext>
            </a:extLst>
          </p:cNvPr>
          <p:cNvSpPr/>
          <p:nvPr/>
        </p:nvSpPr>
        <p:spPr>
          <a:xfrm>
            <a:off x="334177" y="5789544"/>
            <a:ext cx="11280840" cy="390107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/>
        </p:nvGraphicFramePr>
        <p:xfrm>
          <a:off x="357094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/>
        </p:nvGraphicFramePr>
        <p:xfrm>
          <a:off x="643785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D80F4004-9951-4204-BB7D-1FB174FD5509}"/>
              </a:ext>
            </a:extLst>
          </p:cNvPr>
          <p:cNvGraphicFramePr/>
          <p:nvPr/>
        </p:nvGraphicFramePr>
        <p:xfrm>
          <a:off x="9095352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831764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9599618"/>
              </p:ext>
            </p:extLst>
          </p:nvPr>
        </p:nvGraphicFramePr>
        <p:xfrm>
          <a:off x="643785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/>
        </p:nvGraphicFramePr>
        <p:xfrm>
          <a:off x="357094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Promo Summary – Activations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2889762"/>
              </p:ext>
            </p:extLst>
          </p:nvPr>
        </p:nvGraphicFramePr>
        <p:xfrm>
          <a:off x="135261" y="1900448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473010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</a:t>
            </a:r>
            <a:r>
              <a:rPr lang="en-IN" sz="1200" b="1" dirty="0"/>
              <a:t>EUR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5684383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C (EUR)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US" sz="1200" b="1" dirty="0"/>
              <a:t>Spend/activations from mod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3637981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ontribution</a:t>
            </a:r>
          </a:p>
          <a:p>
            <a:pPr algn="ctr" defTabSz="905256">
              <a:defRPr/>
            </a:pPr>
            <a:r>
              <a:rPr lang="en-IN" sz="1200" b="1" dirty="0"/>
              <a:t>(in % )</a:t>
            </a:r>
          </a:p>
        </p:txBody>
      </p:sp>
    </p:spTree>
    <p:extLst>
      <p:ext uri="{BB962C8B-B14F-4D97-AF65-F5344CB8AC3E}">
        <p14:creationId xmlns:p14="http://schemas.microsoft.com/office/powerpoint/2010/main" val="1354089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E26BC6A-57EA-490F-8A79-87E3C5BA108A}"/>
              </a:ext>
            </a:extLst>
          </p:cNvPr>
          <p:cNvGraphicFramePr>
            <a:graphicFrameLocks/>
          </p:cNvGraphicFramePr>
          <p:nvPr/>
        </p:nvGraphicFramePr>
        <p:xfrm>
          <a:off x="2266949" y="2183606"/>
          <a:ext cx="7658101" cy="249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B55E7B3-5D62-4CC6-9160-2F88361F8918}"/>
              </a:ext>
            </a:extLst>
          </p:cNvPr>
          <p:cNvSpPr txBox="1"/>
          <p:nvPr/>
        </p:nvSpPr>
        <p:spPr>
          <a:xfrm>
            <a:off x="8265062" y="2287529"/>
            <a:ext cx="1659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highlight>
                  <a:srgbClr val="C0C0C0"/>
                </a:highlight>
              </a:rPr>
              <a:t>R2: 81.0%</a:t>
            </a:r>
          </a:p>
          <a:p>
            <a:r>
              <a:rPr lang="en-US" sz="1400" dirty="0">
                <a:highlight>
                  <a:srgbClr val="C0C0C0"/>
                </a:highlight>
              </a:rPr>
              <a:t>MAPE:25.17%</a:t>
            </a:r>
            <a:endParaRPr lang="en-IN" sz="1400" dirty="0">
              <a:highlight>
                <a:srgbClr val="C0C0C0"/>
              </a:highlight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EE00EE1-6DF3-423D-824A-094CBD41462A}"/>
              </a:ext>
            </a:extLst>
          </p:cNvPr>
          <p:cNvSpPr/>
          <p:nvPr/>
        </p:nvSpPr>
        <p:spPr>
          <a:xfrm>
            <a:off x="2093844" y="1908313"/>
            <a:ext cx="8004314" cy="29287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674111-5356-4795-AFF3-BABADDB06D48}"/>
              </a:ext>
            </a:extLst>
          </p:cNvPr>
          <p:cNvSpPr/>
          <p:nvPr/>
        </p:nvSpPr>
        <p:spPr>
          <a:xfrm>
            <a:off x="2093841" y="156023"/>
            <a:ext cx="5764696" cy="13414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dding media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06311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185680-5C67-46D2-8DF1-43FF013FC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F163D3-DAAB-41B6-BC8B-7732EEBDD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201EB8-0B71-4574-A813-92BDFF2E7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32DE06-BA75-485B-8769-F5C2C592E7BC}"/>
              </a:ext>
            </a:extLst>
          </p:cNvPr>
          <p:cNvSpPr/>
          <p:nvPr/>
        </p:nvSpPr>
        <p:spPr>
          <a:xfrm>
            <a:off x="3048000" y="2464904"/>
            <a:ext cx="5764696" cy="2027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9626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D9B3C-7ADA-4653-B537-57A3A2173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4F54C5-AE8A-4A80-A238-44ABE30A25B2}"/>
              </a:ext>
            </a:extLst>
          </p:cNvPr>
          <p:cNvSpPr txBox="1">
            <a:spLocks/>
          </p:cNvSpPr>
          <p:nvPr/>
        </p:nvSpPr>
        <p:spPr>
          <a:xfrm>
            <a:off x="6096000" y="4001636"/>
            <a:ext cx="2841674" cy="3312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371600">
              <a:lnSpc>
                <a:spcPct val="115000"/>
              </a:lnSpc>
              <a:spcBef>
                <a:spcPts val="0"/>
              </a:spcBef>
            </a:pPr>
            <a:r>
              <a:rPr lang="en-US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rrelation =84%</a:t>
            </a:r>
            <a:endParaRPr lang="en-US" sz="12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B1552F6-A177-4058-A191-5A05CB2EBB03}"/>
              </a:ext>
            </a:extLst>
          </p:cNvPr>
          <p:cNvGraphicFramePr>
            <a:graphicFrameLocks/>
          </p:cNvGraphicFramePr>
          <p:nvPr/>
        </p:nvGraphicFramePr>
        <p:xfrm>
          <a:off x="3130036" y="2508026"/>
          <a:ext cx="5387975" cy="1865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4468FC7-E77D-48E6-B8FF-F1086D3E5149}"/>
              </a:ext>
            </a:extLst>
          </p:cNvPr>
          <p:cNvSpPr/>
          <p:nvPr/>
        </p:nvSpPr>
        <p:spPr>
          <a:xfrm>
            <a:off x="2869809" y="2466976"/>
            <a:ext cx="5908431" cy="1865874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302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D9B3C-7ADA-4653-B537-57A3A2173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0ED911-B63C-4C2F-B7E5-D245177599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8448DB8-ECA7-4AB2-832A-3BD225B77A34}"/>
              </a:ext>
            </a:extLst>
          </p:cNvPr>
          <p:cNvGraphicFramePr>
            <a:graphicFrameLocks/>
          </p:cNvGraphicFramePr>
          <p:nvPr/>
        </p:nvGraphicFramePr>
        <p:xfrm>
          <a:off x="3123028" y="2466975"/>
          <a:ext cx="5401847" cy="1865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4468FC7-E77D-48E6-B8FF-F1086D3E5149}"/>
              </a:ext>
            </a:extLst>
          </p:cNvPr>
          <p:cNvSpPr/>
          <p:nvPr/>
        </p:nvSpPr>
        <p:spPr>
          <a:xfrm>
            <a:off x="2869809" y="2466976"/>
            <a:ext cx="5908431" cy="1865874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4F54C5-AE8A-4A80-A238-44ABE30A25B2}"/>
              </a:ext>
            </a:extLst>
          </p:cNvPr>
          <p:cNvSpPr txBox="1">
            <a:spLocks/>
          </p:cNvSpPr>
          <p:nvPr/>
        </p:nvSpPr>
        <p:spPr>
          <a:xfrm>
            <a:off x="5809884" y="4001636"/>
            <a:ext cx="2841674" cy="3312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371600">
              <a:lnSpc>
                <a:spcPct val="115000"/>
              </a:lnSpc>
              <a:spcBef>
                <a:spcPts val="0"/>
              </a:spcBef>
            </a:pPr>
            <a:r>
              <a:rPr lang="en-US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rrelation =75%</a:t>
            </a:r>
            <a:endParaRPr lang="en-US" sz="12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968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D9E7FE-2A11-4E44-BDFB-188EE2C91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F800851-82FE-47AE-96F5-69EAAB7D7B05}"/>
              </a:ext>
            </a:extLst>
          </p:cNvPr>
          <p:cNvGraphicFramePr>
            <a:graphicFrameLocks/>
          </p:cNvGraphicFramePr>
          <p:nvPr/>
        </p:nvGraphicFramePr>
        <p:xfrm>
          <a:off x="3066757" y="2321169"/>
          <a:ext cx="5345723" cy="2011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9A8D33CA-2E54-40F8-AFDE-F6506FAF03AE}"/>
              </a:ext>
            </a:extLst>
          </p:cNvPr>
          <p:cNvSpPr txBox="1">
            <a:spLocks/>
          </p:cNvSpPr>
          <p:nvPr/>
        </p:nvSpPr>
        <p:spPr>
          <a:xfrm>
            <a:off x="5824024" y="4001634"/>
            <a:ext cx="2841674" cy="3312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371600">
              <a:lnSpc>
                <a:spcPct val="115000"/>
              </a:lnSpc>
              <a:spcBef>
                <a:spcPts val="0"/>
              </a:spcBef>
            </a:pPr>
            <a:r>
              <a:rPr lang="en-US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rrelation =63%</a:t>
            </a:r>
            <a:endParaRPr lang="en-US" sz="12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A16C312-E676-4D5F-B1A5-BAA7D9418D24}"/>
              </a:ext>
            </a:extLst>
          </p:cNvPr>
          <p:cNvSpPr/>
          <p:nvPr/>
        </p:nvSpPr>
        <p:spPr>
          <a:xfrm>
            <a:off x="2757267" y="2222695"/>
            <a:ext cx="5908431" cy="213924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391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185680-5C67-46D2-8DF1-43FF013FC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F163D3-DAAB-41B6-BC8B-7732EEBDD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201EB8-0B71-4574-A813-92BDFF2E7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32DE06-BA75-485B-8769-F5C2C592E7BC}"/>
              </a:ext>
            </a:extLst>
          </p:cNvPr>
          <p:cNvSpPr/>
          <p:nvPr/>
        </p:nvSpPr>
        <p:spPr>
          <a:xfrm>
            <a:off x="3048000" y="2464904"/>
            <a:ext cx="5764696" cy="2027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36654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3DC531F-3138-4E3E-8113-12F902FDB3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0405247"/>
              </p:ext>
            </p:extLst>
          </p:nvPr>
        </p:nvGraphicFramePr>
        <p:xfrm>
          <a:off x="2266950" y="2053883"/>
          <a:ext cx="7658100" cy="2615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B55E7B3-5D62-4CC6-9160-2F88361F8918}"/>
              </a:ext>
            </a:extLst>
          </p:cNvPr>
          <p:cNvSpPr txBox="1"/>
          <p:nvPr/>
        </p:nvSpPr>
        <p:spPr>
          <a:xfrm>
            <a:off x="8265062" y="2287529"/>
            <a:ext cx="1659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highlight>
                  <a:srgbClr val="C0C0C0"/>
                </a:highlight>
              </a:rPr>
              <a:t>R2: 96.4%</a:t>
            </a:r>
          </a:p>
          <a:p>
            <a:r>
              <a:rPr lang="en-US" sz="1400" dirty="0">
                <a:highlight>
                  <a:srgbClr val="C0C0C0"/>
                </a:highlight>
              </a:rPr>
              <a:t>MAPE:14.7%</a:t>
            </a:r>
            <a:endParaRPr lang="en-IN" sz="1400" dirty="0">
              <a:highlight>
                <a:srgbClr val="C0C0C0"/>
              </a:highlight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EE00EE1-6DF3-423D-824A-094CBD41462A}"/>
              </a:ext>
            </a:extLst>
          </p:cNvPr>
          <p:cNvSpPr/>
          <p:nvPr/>
        </p:nvSpPr>
        <p:spPr>
          <a:xfrm>
            <a:off x="2093844" y="1908313"/>
            <a:ext cx="8004314" cy="29287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3738751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295</TotalTime>
  <Words>1019</Words>
  <Application>Microsoft Office PowerPoint</Application>
  <PresentationFormat>Widescreen</PresentationFormat>
  <Paragraphs>196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Calibri Light</vt:lpstr>
      <vt:lpstr>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rivers of Change – Activations</vt:lpstr>
      <vt:lpstr>Promo Summary – Activations KPI</vt:lpstr>
      <vt:lpstr>Media Summary – Activations KPI</vt:lpstr>
      <vt:lpstr>PowerPoint Presentation</vt:lpstr>
      <vt:lpstr>PowerPoint Presentation</vt:lpstr>
      <vt:lpstr>PowerPoint Presentation</vt:lpstr>
      <vt:lpstr>Drivers of Change – Activations</vt:lpstr>
      <vt:lpstr>Drivers of Change – Activations</vt:lpstr>
      <vt:lpstr>PowerPoint Presentation</vt:lpstr>
      <vt:lpstr>Media Summary – Activations KPI</vt:lpstr>
      <vt:lpstr>Media Summary – Revenue KPI</vt:lpstr>
      <vt:lpstr>Promo Summary – Activations KP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vya Bhat</dc:creator>
  <cp:lastModifiedBy>Kavya Bhat</cp:lastModifiedBy>
  <cp:revision>27</cp:revision>
  <dcterms:created xsi:type="dcterms:W3CDTF">2021-08-16T11:07:55Z</dcterms:created>
  <dcterms:modified xsi:type="dcterms:W3CDTF">2021-08-20T16:38:21Z</dcterms:modified>
</cp:coreProperties>
</file>